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6"/>
  </p:notesMasterIdLst>
  <p:handoutMasterIdLst>
    <p:handoutMasterId r:id="rId7"/>
  </p:handoutMasterIdLst>
  <p:sldIdLst>
    <p:sldId id="798" r:id="rId5"/>
  </p:sldIdLst>
  <p:sldSz cx="12192000" cy="6858000"/>
  <p:notesSz cx="6807200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280" autoAdjust="0"/>
  </p:normalViewPr>
  <p:slideViewPr>
    <p:cSldViewPr snapToGrid="0">
      <p:cViewPr>
        <p:scale>
          <a:sx n="70" d="100"/>
          <a:sy n="70" d="100"/>
        </p:scale>
        <p:origin x="-780" y="-1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1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9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pPr/>
              <a:t>6/1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9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pPr/>
              <a:t>6/1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5" rIns="91550" bIns="4577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1" y="4783307"/>
            <a:ext cx="5445760" cy="3913615"/>
          </a:xfrm>
          <a:prstGeom prst="rect">
            <a:avLst/>
          </a:prstGeom>
        </p:spPr>
        <p:txBody>
          <a:bodyPr vert="horz" lIns="91550" tIns="45775" rIns="91550" bIns="4577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9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467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13" name="Rectangle 17"/>
          <p:cNvSpPr>
            <a:spLocks noGrp="1" noChangeArrowheads="1"/>
          </p:cNvSpPr>
          <p:nvPr userDrawn="1">
            <p:ph type="ctrTitle" sz="quarter"/>
          </p:nvPr>
        </p:nvSpPr>
        <p:spPr bwMode="auto">
          <a:xfrm>
            <a:off x="6477000" y="3556000"/>
            <a:ext cx="5472000" cy="2299610"/>
          </a:xfrm>
        </p:spPr>
        <p:txBody>
          <a:bodyPr wrap="square" tIns="0" anchor="b" anchorCtr="0">
            <a:noAutofit/>
          </a:bodyPr>
          <a:lstStyle>
            <a:lvl1pPr>
              <a:lnSpc>
                <a:spcPts val="4000"/>
              </a:lnSpc>
              <a:defRPr sz="42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114" name="Rectangle 18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6477000" y="6043198"/>
            <a:ext cx="5472000" cy="430887"/>
          </a:xfrm>
          <a:ln w="9525"/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2800" b="0">
                <a:solidFill>
                  <a:srgbClr val="5F009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edit Master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7874461" y="468000"/>
            <a:ext cx="3936539" cy="612000"/>
            <a:chOff x="381000" y="468000"/>
            <a:chExt cx="3936538" cy="612000"/>
          </a:xfrm>
        </p:grpSpPr>
        <p:sp>
          <p:nvSpPr>
            <p:cNvPr id="20" name="Freeform 136"/>
            <p:cNvSpPr>
              <a:spLocks/>
            </p:cNvSpPr>
            <p:nvPr userDrawn="1"/>
          </p:nvSpPr>
          <p:spPr bwMode="auto">
            <a:xfrm>
              <a:off x="1560674" y="468000"/>
              <a:ext cx="200187" cy="211626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rgbClr val="7E00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1" name="Freeform 137"/>
            <p:cNvSpPr>
              <a:spLocks noEditPoints="1"/>
            </p:cNvSpPr>
            <p:nvPr userDrawn="1"/>
          </p:nvSpPr>
          <p:spPr bwMode="auto">
            <a:xfrm>
              <a:off x="381000" y="693926"/>
              <a:ext cx="2023321" cy="310290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8"/>
            <p:cNvSpPr>
              <a:spLocks noEditPoints="1"/>
            </p:cNvSpPr>
            <p:nvPr userDrawn="1"/>
          </p:nvSpPr>
          <p:spPr bwMode="auto">
            <a:xfrm>
              <a:off x="2450077" y="658177"/>
              <a:ext cx="1867461" cy="421823"/>
            </a:xfrm>
            <a:custGeom>
              <a:avLst/>
              <a:gdLst>
                <a:gd name="T0" fmla="*/ 6305 w 6656"/>
                <a:gd name="T1" fmla="*/ 463 h 1492"/>
                <a:gd name="T2" fmla="*/ 6297 w 6656"/>
                <a:gd name="T3" fmla="*/ 1085 h 1492"/>
                <a:gd name="T4" fmla="*/ 5963 w 6656"/>
                <a:gd name="T5" fmla="*/ 1255 h 1492"/>
                <a:gd name="T6" fmla="*/ 6537 w 6656"/>
                <a:gd name="T7" fmla="*/ 1155 h 1492"/>
                <a:gd name="T8" fmla="*/ 5950 w 6656"/>
                <a:gd name="T9" fmla="*/ 827 h 1492"/>
                <a:gd name="T10" fmla="*/ 6537 w 6656"/>
                <a:gd name="T11" fmla="*/ 506 h 1492"/>
                <a:gd name="T12" fmla="*/ 6656 w 6656"/>
                <a:gd name="T13" fmla="*/ 1161 h 1492"/>
                <a:gd name="T14" fmla="*/ 5286 w 6656"/>
                <a:gd name="T15" fmla="*/ 377 h 1492"/>
                <a:gd name="T16" fmla="*/ 5795 w 6656"/>
                <a:gd name="T17" fmla="*/ 669 h 1492"/>
                <a:gd name="T18" fmla="*/ 5675 w 6656"/>
                <a:gd name="T19" fmla="*/ 661 h 1492"/>
                <a:gd name="T20" fmla="*/ 5286 w 6656"/>
                <a:gd name="T21" fmla="*/ 1209 h 1492"/>
                <a:gd name="T22" fmla="*/ 4844 w 6656"/>
                <a:gd name="T23" fmla="*/ 377 h 1492"/>
                <a:gd name="T24" fmla="*/ 4844 w 6656"/>
                <a:gd name="T25" fmla="*/ 1209 h 1492"/>
                <a:gd name="T26" fmla="*/ 4903 w 6656"/>
                <a:gd name="T27" fmla="*/ 54 h 1492"/>
                <a:gd name="T28" fmla="*/ 4825 w 6656"/>
                <a:gd name="T29" fmla="*/ 133 h 1492"/>
                <a:gd name="T30" fmla="*/ 4682 w 6656"/>
                <a:gd name="T31" fmla="*/ 377 h 1492"/>
                <a:gd name="T32" fmla="*/ 4502 w 6656"/>
                <a:gd name="T33" fmla="*/ 999 h 1492"/>
                <a:gd name="T34" fmla="*/ 4690 w 6656"/>
                <a:gd name="T35" fmla="*/ 1202 h 1492"/>
                <a:gd name="T36" fmla="*/ 4381 w 6656"/>
                <a:gd name="T37" fmla="*/ 479 h 1492"/>
                <a:gd name="T38" fmla="*/ 4381 w 6656"/>
                <a:gd name="T39" fmla="*/ 377 h 1492"/>
                <a:gd name="T40" fmla="*/ 4017 w 6656"/>
                <a:gd name="T41" fmla="*/ 0 h 1492"/>
                <a:gd name="T42" fmla="*/ 4017 w 6656"/>
                <a:gd name="T43" fmla="*/ 1209 h 1492"/>
                <a:gd name="T44" fmla="*/ 3692 w 6656"/>
                <a:gd name="T45" fmla="*/ 1209 h 1492"/>
                <a:gd name="T46" fmla="*/ 3191 w 6656"/>
                <a:gd name="T47" fmla="*/ 929 h 1492"/>
                <a:gd name="T48" fmla="*/ 3310 w 6656"/>
                <a:gd name="T49" fmla="*/ 924 h 1492"/>
                <a:gd name="T50" fmla="*/ 3692 w 6656"/>
                <a:gd name="T51" fmla="*/ 377 h 1492"/>
                <a:gd name="T52" fmla="*/ 2763 w 6656"/>
                <a:gd name="T53" fmla="*/ 1221 h 1492"/>
                <a:gd name="T54" fmla="*/ 2761 w 6656"/>
                <a:gd name="T55" fmla="*/ 1123 h 1492"/>
                <a:gd name="T56" fmla="*/ 2475 w 6656"/>
                <a:gd name="T57" fmla="*/ 588 h 1492"/>
                <a:gd name="T58" fmla="*/ 2913 w 6656"/>
                <a:gd name="T59" fmla="*/ 601 h 1492"/>
                <a:gd name="T60" fmla="*/ 2779 w 6656"/>
                <a:gd name="T61" fmla="*/ 728 h 1492"/>
                <a:gd name="T62" fmla="*/ 1688 w 6656"/>
                <a:gd name="T63" fmla="*/ 377 h 1492"/>
                <a:gd name="T64" fmla="*/ 2052 w 6656"/>
                <a:gd name="T65" fmla="*/ 364 h 1492"/>
                <a:gd name="T66" fmla="*/ 2195 w 6656"/>
                <a:gd name="T67" fmla="*/ 1209 h 1492"/>
                <a:gd name="T68" fmla="*/ 1807 w 6656"/>
                <a:gd name="T69" fmla="*/ 676 h 1492"/>
                <a:gd name="T70" fmla="*/ 1688 w 6656"/>
                <a:gd name="T71" fmla="*/ 377 h 1492"/>
                <a:gd name="T72" fmla="*/ 1164 w 6656"/>
                <a:gd name="T73" fmla="*/ 463 h 1492"/>
                <a:gd name="T74" fmla="*/ 1164 w 6656"/>
                <a:gd name="T75" fmla="*/ 1123 h 1492"/>
                <a:gd name="T76" fmla="*/ 800 w 6656"/>
                <a:gd name="T77" fmla="*/ 744 h 1492"/>
                <a:gd name="T78" fmla="*/ 1527 w 6656"/>
                <a:gd name="T79" fmla="*/ 841 h 1492"/>
                <a:gd name="T80" fmla="*/ 362 w 6656"/>
                <a:gd name="T81" fmla="*/ 1221 h 1492"/>
                <a:gd name="T82" fmla="*/ 357 w 6656"/>
                <a:gd name="T83" fmla="*/ 364 h 1492"/>
                <a:gd name="T84" fmla="*/ 357 w 6656"/>
                <a:gd name="T85" fmla="*/ 463 h 1492"/>
                <a:gd name="T86" fmla="*/ 362 w 6656"/>
                <a:gd name="T87" fmla="*/ 1123 h 1492"/>
                <a:gd name="T88" fmla="*/ 362 w 6656"/>
                <a:gd name="T89" fmla="*/ 1221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56" h="1492">
                  <a:moveTo>
                    <a:pt x="6538" y="817"/>
                  </a:moveTo>
                  <a:lnTo>
                    <a:pt x="6538" y="731"/>
                  </a:lnTo>
                  <a:cubicBezTo>
                    <a:pt x="6538" y="561"/>
                    <a:pt x="6451" y="463"/>
                    <a:pt x="6305" y="463"/>
                  </a:cubicBezTo>
                  <a:cubicBezTo>
                    <a:pt x="6158" y="463"/>
                    <a:pt x="6072" y="568"/>
                    <a:pt x="6072" y="730"/>
                  </a:cubicBezTo>
                  <a:lnTo>
                    <a:pt x="6072" y="825"/>
                  </a:lnTo>
                  <a:cubicBezTo>
                    <a:pt x="6072" y="994"/>
                    <a:pt x="6169" y="1085"/>
                    <a:pt x="6297" y="1085"/>
                  </a:cubicBezTo>
                  <a:cubicBezTo>
                    <a:pt x="6437" y="1085"/>
                    <a:pt x="6538" y="988"/>
                    <a:pt x="6538" y="817"/>
                  </a:cubicBezTo>
                  <a:close/>
                  <a:moveTo>
                    <a:pt x="6301" y="1492"/>
                  </a:moveTo>
                  <a:cubicBezTo>
                    <a:pt x="6080" y="1492"/>
                    <a:pt x="5980" y="1390"/>
                    <a:pt x="5963" y="1255"/>
                  </a:cubicBezTo>
                  <a:lnTo>
                    <a:pt x="6083" y="1255"/>
                  </a:lnTo>
                  <a:cubicBezTo>
                    <a:pt x="6099" y="1347"/>
                    <a:pt x="6171" y="1392"/>
                    <a:pt x="6300" y="1392"/>
                  </a:cubicBezTo>
                  <a:cubicBezTo>
                    <a:pt x="6446" y="1392"/>
                    <a:pt x="6537" y="1320"/>
                    <a:pt x="6537" y="1155"/>
                  </a:cubicBezTo>
                  <a:lnTo>
                    <a:pt x="6537" y="1035"/>
                  </a:lnTo>
                  <a:cubicBezTo>
                    <a:pt x="6494" y="1113"/>
                    <a:pt x="6395" y="1185"/>
                    <a:pt x="6281" y="1185"/>
                  </a:cubicBezTo>
                  <a:cubicBezTo>
                    <a:pt x="6087" y="1185"/>
                    <a:pt x="5950" y="1043"/>
                    <a:pt x="5950" y="827"/>
                  </a:cubicBezTo>
                  <a:lnTo>
                    <a:pt x="5950" y="733"/>
                  </a:lnTo>
                  <a:cubicBezTo>
                    <a:pt x="5950" y="521"/>
                    <a:pt x="6088" y="364"/>
                    <a:pt x="6290" y="364"/>
                  </a:cubicBezTo>
                  <a:cubicBezTo>
                    <a:pt x="6418" y="364"/>
                    <a:pt x="6496" y="428"/>
                    <a:pt x="6537" y="506"/>
                  </a:cubicBezTo>
                  <a:lnTo>
                    <a:pt x="6537" y="377"/>
                  </a:lnTo>
                  <a:lnTo>
                    <a:pt x="6656" y="377"/>
                  </a:lnTo>
                  <a:lnTo>
                    <a:pt x="6656" y="1161"/>
                  </a:lnTo>
                  <a:cubicBezTo>
                    <a:pt x="6656" y="1385"/>
                    <a:pt x="6511" y="1492"/>
                    <a:pt x="6301" y="1492"/>
                  </a:cubicBezTo>
                  <a:close/>
                  <a:moveTo>
                    <a:pt x="5167" y="377"/>
                  </a:moveTo>
                  <a:lnTo>
                    <a:pt x="5286" y="377"/>
                  </a:lnTo>
                  <a:lnTo>
                    <a:pt x="5286" y="502"/>
                  </a:lnTo>
                  <a:cubicBezTo>
                    <a:pt x="5321" y="429"/>
                    <a:pt x="5406" y="364"/>
                    <a:pt x="5531" y="364"/>
                  </a:cubicBezTo>
                  <a:cubicBezTo>
                    <a:pt x="5687" y="364"/>
                    <a:pt x="5795" y="451"/>
                    <a:pt x="5795" y="669"/>
                  </a:cubicBezTo>
                  <a:lnTo>
                    <a:pt x="5795" y="1209"/>
                  </a:lnTo>
                  <a:lnTo>
                    <a:pt x="5675" y="1209"/>
                  </a:lnTo>
                  <a:lnTo>
                    <a:pt x="5675" y="661"/>
                  </a:lnTo>
                  <a:cubicBezTo>
                    <a:pt x="5675" y="528"/>
                    <a:pt x="5619" y="466"/>
                    <a:pt x="5498" y="466"/>
                  </a:cubicBezTo>
                  <a:cubicBezTo>
                    <a:pt x="5385" y="466"/>
                    <a:pt x="5286" y="541"/>
                    <a:pt x="5286" y="676"/>
                  </a:cubicBezTo>
                  <a:lnTo>
                    <a:pt x="5286" y="1209"/>
                  </a:lnTo>
                  <a:lnTo>
                    <a:pt x="5167" y="1209"/>
                  </a:lnTo>
                  <a:lnTo>
                    <a:pt x="5167" y="377"/>
                  </a:lnTo>
                  <a:close/>
                  <a:moveTo>
                    <a:pt x="4844" y="377"/>
                  </a:moveTo>
                  <a:lnTo>
                    <a:pt x="4963" y="377"/>
                  </a:lnTo>
                  <a:lnTo>
                    <a:pt x="4963" y="1209"/>
                  </a:lnTo>
                  <a:lnTo>
                    <a:pt x="4844" y="1209"/>
                  </a:lnTo>
                  <a:lnTo>
                    <a:pt x="4844" y="377"/>
                  </a:lnTo>
                  <a:close/>
                  <a:moveTo>
                    <a:pt x="4825" y="133"/>
                  </a:moveTo>
                  <a:cubicBezTo>
                    <a:pt x="4825" y="90"/>
                    <a:pt x="4860" y="54"/>
                    <a:pt x="4903" y="54"/>
                  </a:cubicBezTo>
                  <a:cubicBezTo>
                    <a:pt x="4948" y="54"/>
                    <a:pt x="4983" y="90"/>
                    <a:pt x="4983" y="133"/>
                  </a:cubicBezTo>
                  <a:cubicBezTo>
                    <a:pt x="4983" y="178"/>
                    <a:pt x="4948" y="213"/>
                    <a:pt x="4903" y="213"/>
                  </a:cubicBezTo>
                  <a:cubicBezTo>
                    <a:pt x="4860" y="213"/>
                    <a:pt x="4825" y="178"/>
                    <a:pt x="4825" y="133"/>
                  </a:cubicBezTo>
                  <a:close/>
                  <a:moveTo>
                    <a:pt x="4502" y="192"/>
                  </a:moveTo>
                  <a:lnTo>
                    <a:pt x="4502" y="377"/>
                  </a:lnTo>
                  <a:lnTo>
                    <a:pt x="4682" y="377"/>
                  </a:lnTo>
                  <a:lnTo>
                    <a:pt x="4682" y="479"/>
                  </a:lnTo>
                  <a:lnTo>
                    <a:pt x="4502" y="479"/>
                  </a:lnTo>
                  <a:lnTo>
                    <a:pt x="4502" y="999"/>
                  </a:lnTo>
                  <a:cubicBezTo>
                    <a:pt x="4502" y="1080"/>
                    <a:pt x="4535" y="1116"/>
                    <a:pt x="4601" y="1116"/>
                  </a:cubicBezTo>
                  <a:cubicBezTo>
                    <a:pt x="4637" y="1116"/>
                    <a:pt x="4667" y="1112"/>
                    <a:pt x="4690" y="1102"/>
                  </a:cubicBezTo>
                  <a:lnTo>
                    <a:pt x="4690" y="1202"/>
                  </a:lnTo>
                  <a:cubicBezTo>
                    <a:pt x="4667" y="1210"/>
                    <a:pt x="4637" y="1218"/>
                    <a:pt x="4591" y="1218"/>
                  </a:cubicBezTo>
                  <a:cubicBezTo>
                    <a:pt x="4450" y="1218"/>
                    <a:pt x="4381" y="1137"/>
                    <a:pt x="4381" y="1010"/>
                  </a:cubicBezTo>
                  <a:lnTo>
                    <a:pt x="4381" y="479"/>
                  </a:lnTo>
                  <a:lnTo>
                    <a:pt x="4271" y="479"/>
                  </a:lnTo>
                  <a:lnTo>
                    <a:pt x="4271" y="377"/>
                  </a:lnTo>
                  <a:lnTo>
                    <a:pt x="4381" y="377"/>
                  </a:lnTo>
                  <a:lnTo>
                    <a:pt x="4381" y="192"/>
                  </a:lnTo>
                  <a:lnTo>
                    <a:pt x="4502" y="192"/>
                  </a:lnTo>
                  <a:close/>
                  <a:moveTo>
                    <a:pt x="4017" y="0"/>
                  </a:moveTo>
                  <a:lnTo>
                    <a:pt x="4139" y="0"/>
                  </a:lnTo>
                  <a:lnTo>
                    <a:pt x="4139" y="1209"/>
                  </a:lnTo>
                  <a:lnTo>
                    <a:pt x="4017" y="1209"/>
                  </a:lnTo>
                  <a:lnTo>
                    <a:pt x="4017" y="0"/>
                  </a:lnTo>
                  <a:close/>
                  <a:moveTo>
                    <a:pt x="3813" y="1209"/>
                  </a:moveTo>
                  <a:lnTo>
                    <a:pt x="3692" y="1209"/>
                  </a:lnTo>
                  <a:lnTo>
                    <a:pt x="3692" y="1083"/>
                  </a:lnTo>
                  <a:cubicBezTo>
                    <a:pt x="3657" y="1158"/>
                    <a:pt x="3573" y="1221"/>
                    <a:pt x="3452" y="1221"/>
                  </a:cubicBezTo>
                  <a:cubicBezTo>
                    <a:pt x="3299" y="1221"/>
                    <a:pt x="3191" y="1137"/>
                    <a:pt x="3191" y="929"/>
                  </a:cubicBezTo>
                  <a:lnTo>
                    <a:pt x="3191" y="377"/>
                  </a:lnTo>
                  <a:lnTo>
                    <a:pt x="3310" y="377"/>
                  </a:lnTo>
                  <a:lnTo>
                    <a:pt x="3310" y="924"/>
                  </a:lnTo>
                  <a:cubicBezTo>
                    <a:pt x="3310" y="1059"/>
                    <a:pt x="3366" y="1118"/>
                    <a:pt x="3484" y="1118"/>
                  </a:cubicBezTo>
                  <a:cubicBezTo>
                    <a:pt x="3594" y="1118"/>
                    <a:pt x="3692" y="1045"/>
                    <a:pt x="3692" y="910"/>
                  </a:cubicBezTo>
                  <a:lnTo>
                    <a:pt x="3692" y="377"/>
                  </a:lnTo>
                  <a:lnTo>
                    <a:pt x="3813" y="377"/>
                  </a:lnTo>
                  <a:lnTo>
                    <a:pt x="3813" y="1209"/>
                  </a:lnTo>
                  <a:close/>
                  <a:moveTo>
                    <a:pt x="2763" y="1221"/>
                  </a:moveTo>
                  <a:cubicBezTo>
                    <a:pt x="2575" y="1221"/>
                    <a:pt x="2458" y="1121"/>
                    <a:pt x="2453" y="957"/>
                  </a:cubicBezTo>
                  <a:lnTo>
                    <a:pt x="2571" y="957"/>
                  </a:lnTo>
                  <a:cubicBezTo>
                    <a:pt x="2577" y="1058"/>
                    <a:pt x="2636" y="1123"/>
                    <a:pt x="2761" y="1123"/>
                  </a:cubicBezTo>
                  <a:cubicBezTo>
                    <a:pt x="2881" y="1123"/>
                    <a:pt x="2935" y="1077"/>
                    <a:pt x="2935" y="988"/>
                  </a:cubicBezTo>
                  <a:cubicBezTo>
                    <a:pt x="2935" y="900"/>
                    <a:pt x="2873" y="870"/>
                    <a:pt x="2747" y="836"/>
                  </a:cubicBezTo>
                  <a:cubicBezTo>
                    <a:pt x="2553" y="786"/>
                    <a:pt x="2475" y="727"/>
                    <a:pt x="2475" y="588"/>
                  </a:cubicBezTo>
                  <a:cubicBezTo>
                    <a:pt x="2475" y="442"/>
                    <a:pt x="2614" y="364"/>
                    <a:pt x="2744" y="364"/>
                  </a:cubicBezTo>
                  <a:cubicBezTo>
                    <a:pt x="2889" y="364"/>
                    <a:pt x="3013" y="428"/>
                    <a:pt x="3027" y="601"/>
                  </a:cubicBezTo>
                  <a:lnTo>
                    <a:pt x="2913" y="601"/>
                  </a:lnTo>
                  <a:cubicBezTo>
                    <a:pt x="2898" y="507"/>
                    <a:pt x="2841" y="463"/>
                    <a:pt x="2744" y="463"/>
                  </a:cubicBezTo>
                  <a:cubicBezTo>
                    <a:pt x="2650" y="463"/>
                    <a:pt x="2588" y="510"/>
                    <a:pt x="2588" y="583"/>
                  </a:cubicBezTo>
                  <a:cubicBezTo>
                    <a:pt x="2588" y="661"/>
                    <a:pt x="2637" y="692"/>
                    <a:pt x="2779" y="728"/>
                  </a:cubicBezTo>
                  <a:cubicBezTo>
                    <a:pt x="2940" y="770"/>
                    <a:pt x="3049" y="814"/>
                    <a:pt x="3049" y="980"/>
                  </a:cubicBezTo>
                  <a:cubicBezTo>
                    <a:pt x="3049" y="1126"/>
                    <a:pt x="2954" y="1221"/>
                    <a:pt x="2763" y="1221"/>
                  </a:cubicBezTo>
                  <a:close/>
                  <a:moveTo>
                    <a:pt x="1688" y="377"/>
                  </a:moveTo>
                  <a:lnTo>
                    <a:pt x="1807" y="377"/>
                  </a:lnTo>
                  <a:lnTo>
                    <a:pt x="1807" y="502"/>
                  </a:lnTo>
                  <a:cubicBezTo>
                    <a:pt x="1842" y="429"/>
                    <a:pt x="1926" y="364"/>
                    <a:pt x="2052" y="364"/>
                  </a:cubicBezTo>
                  <a:cubicBezTo>
                    <a:pt x="2208" y="364"/>
                    <a:pt x="2316" y="451"/>
                    <a:pt x="2316" y="669"/>
                  </a:cubicBezTo>
                  <a:lnTo>
                    <a:pt x="2316" y="1209"/>
                  </a:lnTo>
                  <a:lnTo>
                    <a:pt x="2195" y="1209"/>
                  </a:lnTo>
                  <a:lnTo>
                    <a:pt x="2195" y="661"/>
                  </a:lnTo>
                  <a:cubicBezTo>
                    <a:pt x="2195" y="528"/>
                    <a:pt x="2139" y="466"/>
                    <a:pt x="2018" y="466"/>
                  </a:cubicBezTo>
                  <a:cubicBezTo>
                    <a:pt x="1905" y="466"/>
                    <a:pt x="1807" y="541"/>
                    <a:pt x="1807" y="676"/>
                  </a:cubicBezTo>
                  <a:lnTo>
                    <a:pt x="1807" y="1209"/>
                  </a:lnTo>
                  <a:lnTo>
                    <a:pt x="1688" y="1209"/>
                  </a:lnTo>
                  <a:lnTo>
                    <a:pt x="1688" y="377"/>
                  </a:lnTo>
                  <a:close/>
                  <a:moveTo>
                    <a:pt x="1404" y="843"/>
                  </a:moveTo>
                  <a:lnTo>
                    <a:pt x="1404" y="746"/>
                  </a:lnTo>
                  <a:cubicBezTo>
                    <a:pt x="1404" y="571"/>
                    <a:pt x="1310" y="463"/>
                    <a:pt x="1164" y="463"/>
                  </a:cubicBezTo>
                  <a:cubicBezTo>
                    <a:pt x="1015" y="463"/>
                    <a:pt x="922" y="572"/>
                    <a:pt x="922" y="744"/>
                  </a:cubicBezTo>
                  <a:lnTo>
                    <a:pt x="922" y="843"/>
                  </a:lnTo>
                  <a:cubicBezTo>
                    <a:pt x="922" y="1013"/>
                    <a:pt x="1013" y="1123"/>
                    <a:pt x="1164" y="1123"/>
                  </a:cubicBezTo>
                  <a:cubicBezTo>
                    <a:pt x="1312" y="1123"/>
                    <a:pt x="1404" y="1013"/>
                    <a:pt x="1404" y="843"/>
                  </a:cubicBezTo>
                  <a:close/>
                  <a:moveTo>
                    <a:pt x="800" y="843"/>
                  </a:moveTo>
                  <a:lnTo>
                    <a:pt x="800" y="744"/>
                  </a:lnTo>
                  <a:cubicBezTo>
                    <a:pt x="800" y="517"/>
                    <a:pt x="952" y="364"/>
                    <a:pt x="1164" y="364"/>
                  </a:cubicBezTo>
                  <a:cubicBezTo>
                    <a:pt x="1376" y="364"/>
                    <a:pt x="1527" y="513"/>
                    <a:pt x="1527" y="743"/>
                  </a:cubicBezTo>
                  <a:lnTo>
                    <a:pt x="1527" y="841"/>
                  </a:lnTo>
                  <a:cubicBezTo>
                    <a:pt x="1527" y="1072"/>
                    <a:pt x="1376" y="1221"/>
                    <a:pt x="1162" y="1221"/>
                  </a:cubicBezTo>
                  <a:cubicBezTo>
                    <a:pt x="949" y="1221"/>
                    <a:pt x="800" y="1066"/>
                    <a:pt x="800" y="843"/>
                  </a:cubicBezTo>
                  <a:close/>
                  <a:moveTo>
                    <a:pt x="362" y="1221"/>
                  </a:moveTo>
                  <a:cubicBezTo>
                    <a:pt x="154" y="1221"/>
                    <a:pt x="0" y="1081"/>
                    <a:pt x="0" y="844"/>
                  </a:cubicBezTo>
                  <a:lnTo>
                    <a:pt x="0" y="746"/>
                  </a:lnTo>
                  <a:cubicBezTo>
                    <a:pt x="0" y="512"/>
                    <a:pt x="159" y="364"/>
                    <a:pt x="357" y="364"/>
                  </a:cubicBezTo>
                  <a:cubicBezTo>
                    <a:pt x="520" y="364"/>
                    <a:pt x="663" y="439"/>
                    <a:pt x="682" y="639"/>
                  </a:cubicBezTo>
                  <a:lnTo>
                    <a:pt x="564" y="639"/>
                  </a:lnTo>
                  <a:cubicBezTo>
                    <a:pt x="550" y="509"/>
                    <a:pt x="462" y="463"/>
                    <a:pt x="357" y="463"/>
                  </a:cubicBezTo>
                  <a:cubicBezTo>
                    <a:pt x="221" y="463"/>
                    <a:pt x="122" y="568"/>
                    <a:pt x="122" y="746"/>
                  </a:cubicBezTo>
                  <a:lnTo>
                    <a:pt x="122" y="844"/>
                  </a:lnTo>
                  <a:cubicBezTo>
                    <a:pt x="122" y="1029"/>
                    <a:pt x="219" y="1123"/>
                    <a:pt x="362" y="1123"/>
                  </a:cubicBezTo>
                  <a:cubicBezTo>
                    <a:pt x="470" y="1123"/>
                    <a:pt x="566" y="1059"/>
                    <a:pt x="575" y="924"/>
                  </a:cubicBezTo>
                  <a:lnTo>
                    <a:pt x="687" y="924"/>
                  </a:lnTo>
                  <a:cubicBezTo>
                    <a:pt x="674" y="1105"/>
                    <a:pt x="544" y="1221"/>
                    <a:pt x="362" y="1221"/>
                  </a:cubicBezTo>
                  <a:close/>
                </a:path>
              </a:pathLst>
            </a:custGeom>
            <a:solidFill>
              <a:srgbClr val="7E00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-517089" y="-864714"/>
            <a:ext cx="5883968" cy="6120000"/>
          </a:xfrm>
          <a:custGeom>
            <a:avLst/>
            <a:gdLst>
              <a:gd name="T0" fmla="*/ 0 w 4594"/>
              <a:gd name="T1" fmla="*/ 0 h 4765"/>
              <a:gd name="T2" fmla="*/ 0 w 4594"/>
              <a:gd name="T3" fmla="*/ 1040 h 4765"/>
              <a:gd name="T4" fmla="*/ 3311 w 4594"/>
              <a:gd name="T5" fmla="*/ 2382 h 4765"/>
              <a:gd name="T6" fmla="*/ 0 w 4594"/>
              <a:gd name="T7" fmla="*/ 3725 h 4765"/>
              <a:gd name="T8" fmla="*/ 0 w 4594"/>
              <a:gd name="T9" fmla="*/ 4765 h 4765"/>
              <a:gd name="T10" fmla="*/ 4594 w 4594"/>
              <a:gd name="T11" fmla="*/ 2902 h 4765"/>
              <a:gd name="T12" fmla="*/ 4594 w 4594"/>
              <a:gd name="T13" fmla="*/ 1862 h 4765"/>
              <a:gd name="T14" fmla="*/ 0 w 4594"/>
              <a:gd name="T15" fmla="*/ 0 h 4765"/>
              <a:gd name="T16" fmla="*/ 69 w 4594"/>
              <a:gd name="T17" fmla="*/ 102 h 4765"/>
              <a:gd name="T18" fmla="*/ 4525 w 4594"/>
              <a:gd name="T19" fmla="*/ 1909 h 4765"/>
              <a:gd name="T20" fmla="*/ 4525 w 4594"/>
              <a:gd name="T21" fmla="*/ 2856 h 4765"/>
              <a:gd name="T22" fmla="*/ 69 w 4594"/>
              <a:gd name="T23" fmla="*/ 4662 h 4765"/>
              <a:gd name="T24" fmla="*/ 69 w 4594"/>
              <a:gd name="T25" fmla="*/ 3771 h 4765"/>
              <a:gd name="T26" fmla="*/ 3337 w 4594"/>
              <a:gd name="T27" fmla="*/ 2446 h 4765"/>
              <a:gd name="T28" fmla="*/ 3495 w 4594"/>
              <a:gd name="T29" fmla="*/ 2382 h 4765"/>
              <a:gd name="T30" fmla="*/ 3337 w 4594"/>
              <a:gd name="T31" fmla="*/ 2318 h 4765"/>
              <a:gd name="T32" fmla="*/ 69 w 4594"/>
              <a:gd name="T33" fmla="*/ 993 h 4765"/>
              <a:gd name="T34" fmla="*/ 69 w 4594"/>
              <a:gd name="T35" fmla="*/ 102 h 4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594" h="4765">
                <a:moveTo>
                  <a:pt x="0" y="0"/>
                </a:moveTo>
                <a:lnTo>
                  <a:pt x="0" y="1040"/>
                </a:lnTo>
                <a:lnTo>
                  <a:pt x="3311" y="2382"/>
                </a:lnTo>
                <a:lnTo>
                  <a:pt x="0" y="3725"/>
                </a:lnTo>
                <a:lnTo>
                  <a:pt x="0" y="4765"/>
                </a:lnTo>
                <a:lnTo>
                  <a:pt x="4594" y="2902"/>
                </a:lnTo>
                <a:lnTo>
                  <a:pt x="4594" y="1862"/>
                </a:lnTo>
                <a:lnTo>
                  <a:pt x="0" y="0"/>
                </a:lnTo>
                <a:close/>
                <a:moveTo>
                  <a:pt x="69" y="102"/>
                </a:moveTo>
                <a:lnTo>
                  <a:pt x="4525" y="1909"/>
                </a:lnTo>
                <a:lnTo>
                  <a:pt x="4525" y="2856"/>
                </a:lnTo>
                <a:lnTo>
                  <a:pt x="69" y="4662"/>
                </a:lnTo>
                <a:lnTo>
                  <a:pt x="69" y="3771"/>
                </a:lnTo>
                <a:lnTo>
                  <a:pt x="3337" y="2446"/>
                </a:lnTo>
                <a:lnTo>
                  <a:pt x="3495" y="2382"/>
                </a:lnTo>
                <a:lnTo>
                  <a:pt x="3337" y="2318"/>
                </a:lnTo>
                <a:lnTo>
                  <a:pt x="69" y="993"/>
                </a:lnTo>
                <a:lnTo>
                  <a:pt x="69" y="102"/>
                </a:lnTo>
                <a:close/>
              </a:path>
            </a:pathLst>
          </a:custGeom>
          <a:solidFill>
            <a:srgbClr val="7E00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oters Only: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381000"/>
            <a:ext cx="11430000" cy="2232000"/>
          </a:xfrm>
        </p:spPr>
        <p:txBody>
          <a:bodyPr>
            <a:noAutofit/>
          </a:bodyPr>
          <a:lstStyle>
            <a:lvl1pPr marL="0" indent="0">
              <a:lnSpc>
                <a:spcPts val="5600"/>
              </a:lnSpc>
              <a:buNone/>
              <a:defRPr sz="5400" cap="all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2772000"/>
            <a:ext cx="11430000" cy="972000"/>
          </a:xfrm>
        </p:spPr>
        <p:txBody>
          <a:bodyPr>
            <a:noAutofit/>
          </a:bodyPr>
          <a:lstStyle>
            <a:lvl1pPr marL="0" indent="0">
              <a:lnSpc>
                <a:spcPts val="3800"/>
              </a:lnSpc>
              <a:buNone/>
              <a:defRPr sz="3600" cap="all" baseline="0">
                <a:solidFill>
                  <a:srgbClr val="380089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9173013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1137185" y="6537399"/>
            <a:ext cx="677795" cy="161888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384009" y="6537399"/>
            <a:ext cx="5577479" cy="161888"/>
          </a:xfrm>
          <a:prstGeom prst="rect">
            <a:avLst/>
          </a:prstGeom>
          <a:noFill/>
        </p:spPr>
        <p:txBody>
          <a:bodyPr wrap="square" lIns="0" tIns="60949" rIns="121899" bIns="60949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5782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81749" y="1223718"/>
            <a:ext cx="11434467" cy="3206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sz="2000" b="1" cap="none" baseline="0" dirty="0">
                <a:solidFill>
                  <a:srgbClr val="380089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 marL="0" lvl="0" indent="0" defTabSz="914172" latinLnBrk="0">
              <a:lnSpc>
                <a:spcPts val="25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68444" y="1672839"/>
            <a:ext cx="11434467" cy="1628138"/>
          </a:xfrm>
        </p:spPr>
        <p:txBody>
          <a:bodyPr/>
          <a:lstStyle>
            <a:lvl2pPr marL="263465" indent="-174586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2pPr>
            <a:lvl3pPr marL="447574" indent="-176174">
              <a:spcBef>
                <a:spcPts val="600"/>
              </a:spcBef>
              <a:buFont typeface="Arial" panose="020B0604020202020204" pitchFamily="34" charset="0"/>
              <a:buChar char="−"/>
              <a:defRPr sz="1400"/>
            </a:lvl3pPr>
            <a:lvl4pPr marL="630096" indent="-182522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4pPr>
            <a:lvl5pPr marL="803095" indent="-176174">
              <a:spcBef>
                <a:spcPts val="600"/>
              </a:spcBef>
              <a:buFont typeface="Arial" panose="020B0604020202020204" pitchFamily="34" charset="0"/>
              <a:buChar char="−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1137185" y="6537399"/>
            <a:ext cx="677795" cy="161888"/>
          </a:xfrm>
          <a:prstGeom prst="rect">
            <a:avLst/>
          </a:prstGeom>
        </p:spPr>
        <p:txBody>
          <a:bodyPr vert="horz" wrap="square" lIns="121899" tIns="60949" rIns="0" bIns="60949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384009" y="6537399"/>
            <a:ext cx="5577479" cy="161888"/>
          </a:xfrm>
          <a:prstGeom prst="rect">
            <a:avLst/>
          </a:prstGeom>
          <a:noFill/>
        </p:spPr>
        <p:txBody>
          <a:bodyPr wrap="square" lIns="0" tIns="60949" rIns="121899" bIns="60949" anchor="ctr" anchorCtr="0">
            <a:noAutofit/>
          </a:bodyPr>
          <a:lstStyle>
            <a:lvl1pPr>
              <a:defRPr lang="en-AU"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0233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837" y="0"/>
            <a:ext cx="10964335" cy="1058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22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8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3421058" y="1078631"/>
            <a:ext cx="4599087" cy="4700736"/>
            <a:chOff x="6411000" y="729000"/>
            <a:chExt cx="5400000" cy="5519352"/>
          </a:xfrm>
        </p:grpSpPr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6411000" y="2925071"/>
              <a:ext cx="5400000" cy="3323281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90000">
                  <a:srgbClr val="A100FF"/>
                </a:gs>
                <a:gs pos="0">
                  <a:srgbClr val="380089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dirty="0"/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6411000" y="729000"/>
              <a:ext cx="5400000" cy="3317976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00" dirty="0"/>
            </a:p>
          </p:txBody>
        </p:sp>
      </p:grp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2"/>
            <a:ext cx="12188952" cy="6857999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 rot="5400000">
            <a:off x="6193209" y="860737"/>
            <a:ext cx="6858001" cy="5136533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7874461" y="5832904"/>
            <a:ext cx="3936539" cy="612000"/>
            <a:chOff x="381000" y="468000"/>
            <a:chExt cx="3936538" cy="612000"/>
          </a:xfrm>
          <a:solidFill>
            <a:schemeClr val="bg1"/>
          </a:solidFill>
        </p:grpSpPr>
        <p:sp>
          <p:nvSpPr>
            <p:cNvPr id="20" name="Freeform 136"/>
            <p:cNvSpPr>
              <a:spLocks/>
            </p:cNvSpPr>
            <p:nvPr userDrawn="1"/>
          </p:nvSpPr>
          <p:spPr bwMode="auto">
            <a:xfrm>
              <a:off x="1560674" y="468000"/>
              <a:ext cx="200187" cy="211626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1" name="Freeform 137"/>
            <p:cNvSpPr>
              <a:spLocks noEditPoints="1"/>
            </p:cNvSpPr>
            <p:nvPr userDrawn="1"/>
          </p:nvSpPr>
          <p:spPr bwMode="auto">
            <a:xfrm>
              <a:off x="381000" y="693926"/>
              <a:ext cx="2023321" cy="310290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8"/>
            <p:cNvSpPr>
              <a:spLocks noEditPoints="1"/>
            </p:cNvSpPr>
            <p:nvPr userDrawn="1"/>
          </p:nvSpPr>
          <p:spPr bwMode="auto">
            <a:xfrm>
              <a:off x="2450077" y="658177"/>
              <a:ext cx="1867461" cy="421823"/>
            </a:xfrm>
            <a:custGeom>
              <a:avLst/>
              <a:gdLst>
                <a:gd name="T0" fmla="*/ 6305 w 6656"/>
                <a:gd name="T1" fmla="*/ 463 h 1492"/>
                <a:gd name="T2" fmla="*/ 6297 w 6656"/>
                <a:gd name="T3" fmla="*/ 1085 h 1492"/>
                <a:gd name="T4" fmla="*/ 5963 w 6656"/>
                <a:gd name="T5" fmla="*/ 1255 h 1492"/>
                <a:gd name="T6" fmla="*/ 6537 w 6656"/>
                <a:gd name="T7" fmla="*/ 1155 h 1492"/>
                <a:gd name="T8" fmla="*/ 5950 w 6656"/>
                <a:gd name="T9" fmla="*/ 827 h 1492"/>
                <a:gd name="T10" fmla="*/ 6537 w 6656"/>
                <a:gd name="T11" fmla="*/ 506 h 1492"/>
                <a:gd name="T12" fmla="*/ 6656 w 6656"/>
                <a:gd name="T13" fmla="*/ 1161 h 1492"/>
                <a:gd name="T14" fmla="*/ 5286 w 6656"/>
                <a:gd name="T15" fmla="*/ 377 h 1492"/>
                <a:gd name="T16" fmla="*/ 5795 w 6656"/>
                <a:gd name="T17" fmla="*/ 669 h 1492"/>
                <a:gd name="T18" fmla="*/ 5675 w 6656"/>
                <a:gd name="T19" fmla="*/ 661 h 1492"/>
                <a:gd name="T20" fmla="*/ 5286 w 6656"/>
                <a:gd name="T21" fmla="*/ 1209 h 1492"/>
                <a:gd name="T22" fmla="*/ 4844 w 6656"/>
                <a:gd name="T23" fmla="*/ 377 h 1492"/>
                <a:gd name="T24" fmla="*/ 4844 w 6656"/>
                <a:gd name="T25" fmla="*/ 1209 h 1492"/>
                <a:gd name="T26" fmla="*/ 4903 w 6656"/>
                <a:gd name="T27" fmla="*/ 54 h 1492"/>
                <a:gd name="T28" fmla="*/ 4825 w 6656"/>
                <a:gd name="T29" fmla="*/ 133 h 1492"/>
                <a:gd name="T30" fmla="*/ 4682 w 6656"/>
                <a:gd name="T31" fmla="*/ 377 h 1492"/>
                <a:gd name="T32" fmla="*/ 4502 w 6656"/>
                <a:gd name="T33" fmla="*/ 999 h 1492"/>
                <a:gd name="T34" fmla="*/ 4690 w 6656"/>
                <a:gd name="T35" fmla="*/ 1202 h 1492"/>
                <a:gd name="T36" fmla="*/ 4381 w 6656"/>
                <a:gd name="T37" fmla="*/ 479 h 1492"/>
                <a:gd name="T38" fmla="*/ 4381 w 6656"/>
                <a:gd name="T39" fmla="*/ 377 h 1492"/>
                <a:gd name="T40" fmla="*/ 4017 w 6656"/>
                <a:gd name="T41" fmla="*/ 0 h 1492"/>
                <a:gd name="T42" fmla="*/ 4017 w 6656"/>
                <a:gd name="T43" fmla="*/ 1209 h 1492"/>
                <a:gd name="T44" fmla="*/ 3692 w 6656"/>
                <a:gd name="T45" fmla="*/ 1209 h 1492"/>
                <a:gd name="T46" fmla="*/ 3191 w 6656"/>
                <a:gd name="T47" fmla="*/ 929 h 1492"/>
                <a:gd name="T48" fmla="*/ 3310 w 6656"/>
                <a:gd name="T49" fmla="*/ 924 h 1492"/>
                <a:gd name="T50" fmla="*/ 3692 w 6656"/>
                <a:gd name="T51" fmla="*/ 377 h 1492"/>
                <a:gd name="T52" fmla="*/ 2763 w 6656"/>
                <a:gd name="T53" fmla="*/ 1221 h 1492"/>
                <a:gd name="T54" fmla="*/ 2761 w 6656"/>
                <a:gd name="T55" fmla="*/ 1123 h 1492"/>
                <a:gd name="T56" fmla="*/ 2475 w 6656"/>
                <a:gd name="T57" fmla="*/ 588 h 1492"/>
                <a:gd name="T58" fmla="*/ 2913 w 6656"/>
                <a:gd name="T59" fmla="*/ 601 h 1492"/>
                <a:gd name="T60" fmla="*/ 2779 w 6656"/>
                <a:gd name="T61" fmla="*/ 728 h 1492"/>
                <a:gd name="T62" fmla="*/ 1688 w 6656"/>
                <a:gd name="T63" fmla="*/ 377 h 1492"/>
                <a:gd name="T64" fmla="*/ 2052 w 6656"/>
                <a:gd name="T65" fmla="*/ 364 h 1492"/>
                <a:gd name="T66" fmla="*/ 2195 w 6656"/>
                <a:gd name="T67" fmla="*/ 1209 h 1492"/>
                <a:gd name="T68" fmla="*/ 1807 w 6656"/>
                <a:gd name="T69" fmla="*/ 676 h 1492"/>
                <a:gd name="T70" fmla="*/ 1688 w 6656"/>
                <a:gd name="T71" fmla="*/ 377 h 1492"/>
                <a:gd name="T72" fmla="*/ 1164 w 6656"/>
                <a:gd name="T73" fmla="*/ 463 h 1492"/>
                <a:gd name="T74" fmla="*/ 1164 w 6656"/>
                <a:gd name="T75" fmla="*/ 1123 h 1492"/>
                <a:gd name="T76" fmla="*/ 800 w 6656"/>
                <a:gd name="T77" fmla="*/ 744 h 1492"/>
                <a:gd name="T78" fmla="*/ 1527 w 6656"/>
                <a:gd name="T79" fmla="*/ 841 h 1492"/>
                <a:gd name="T80" fmla="*/ 362 w 6656"/>
                <a:gd name="T81" fmla="*/ 1221 h 1492"/>
                <a:gd name="T82" fmla="*/ 357 w 6656"/>
                <a:gd name="T83" fmla="*/ 364 h 1492"/>
                <a:gd name="T84" fmla="*/ 357 w 6656"/>
                <a:gd name="T85" fmla="*/ 463 h 1492"/>
                <a:gd name="T86" fmla="*/ 362 w 6656"/>
                <a:gd name="T87" fmla="*/ 1123 h 1492"/>
                <a:gd name="T88" fmla="*/ 362 w 6656"/>
                <a:gd name="T89" fmla="*/ 1221 h 1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56" h="1492">
                  <a:moveTo>
                    <a:pt x="6538" y="817"/>
                  </a:moveTo>
                  <a:lnTo>
                    <a:pt x="6538" y="731"/>
                  </a:lnTo>
                  <a:cubicBezTo>
                    <a:pt x="6538" y="561"/>
                    <a:pt x="6451" y="463"/>
                    <a:pt x="6305" y="463"/>
                  </a:cubicBezTo>
                  <a:cubicBezTo>
                    <a:pt x="6158" y="463"/>
                    <a:pt x="6072" y="568"/>
                    <a:pt x="6072" y="730"/>
                  </a:cubicBezTo>
                  <a:lnTo>
                    <a:pt x="6072" y="825"/>
                  </a:lnTo>
                  <a:cubicBezTo>
                    <a:pt x="6072" y="994"/>
                    <a:pt x="6169" y="1085"/>
                    <a:pt x="6297" y="1085"/>
                  </a:cubicBezTo>
                  <a:cubicBezTo>
                    <a:pt x="6437" y="1085"/>
                    <a:pt x="6538" y="988"/>
                    <a:pt x="6538" y="817"/>
                  </a:cubicBezTo>
                  <a:close/>
                  <a:moveTo>
                    <a:pt x="6301" y="1492"/>
                  </a:moveTo>
                  <a:cubicBezTo>
                    <a:pt x="6080" y="1492"/>
                    <a:pt x="5980" y="1390"/>
                    <a:pt x="5963" y="1255"/>
                  </a:cubicBezTo>
                  <a:lnTo>
                    <a:pt x="6083" y="1255"/>
                  </a:lnTo>
                  <a:cubicBezTo>
                    <a:pt x="6099" y="1347"/>
                    <a:pt x="6171" y="1392"/>
                    <a:pt x="6300" y="1392"/>
                  </a:cubicBezTo>
                  <a:cubicBezTo>
                    <a:pt x="6446" y="1392"/>
                    <a:pt x="6537" y="1320"/>
                    <a:pt x="6537" y="1155"/>
                  </a:cubicBezTo>
                  <a:lnTo>
                    <a:pt x="6537" y="1035"/>
                  </a:lnTo>
                  <a:cubicBezTo>
                    <a:pt x="6494" y="1113"/>
                    <a:pt x="6395" y="1185"/>
                    <a:pt x="6281" y="1185"/>
                  </a:cubicBezTo>
                  <a:cubicBezTo>
                    <a:pt x="6087" y="1185"/>
                    <a:pt x="5950" y="1043"/>
                    <a:pt x="5950" y="827"/>
                  </a:cubicBezTo>
                  <a:lnTo>
                    <a:pt x="5950" y="733"/>
                  </a:lnTo>
                  <a:cubicBezTo>
                    <a:pt x="5950" y="521"/>
                    <a:pt x="6088" y="364"/>
                    <a:pt x="6290" y="364"/>
                  </a:cubicBezTo>
                  <a:cubicBezTo>
                    <a:pt x="6418" y="364"/>
                    <a:pt x="6496" y="428"/>
                    <a:pt x="6537" y="506"/>
                  </a:cubicBezTo>
                  <a:lnTo>
                    <a:pt x="6537" y="377"/>
                  </a:lnTo>
                  <a:lnTo>
                    <a:pt x="6656" y="377"/>
                  </a:lnTo>
                  <a:lnTo>
                    <a:pt x="6656" y="1161"/>
                  </a:lnTo>
                  <a:cubicBezTo>
                    <a:pt x="6656" y="1385"/>
                    <a:pt x="6511" y="1492"/>
                    <a:pt x="6301" y="1492"/>
                  </a:cubicBezTo>
                  <a:close/>
                  <a:moveTo>
                    <a:pt x="5167" y="377"/>
                  </a:moveTo>
                  <a:lnTo>
                    <a:pt x="5286" y="377"/>
                  </a:lnTo>
                  <a:lnTo>
                    <a:pt x="5286" y="502"/>
                  </a:lnTo>
                  <a:cubicBezTo>
                    <a:pt x="5321" y="429"/>
                    <a:pt x="5406" y="364"/>
                    <a:pt x="5531" y="364"/>
                  </a:cubicBezTo>
                  <a:cubicBezTo>
                    <a:pt x="5687" y="364"/>
                    <a:pt x="5795" y="451"/>
                    <a:pt x="5795" y="669"/>
                  </a:cubicBezTo>
                  <a:lnTo>
                    <a:pt x="5795" y="1209"/>
                  </a:lnTo>
                  <a:lnTo>
                    <a:pt x="5675" y="1209"/>
                  </a:lnTo>
                  <a:lnTo>
                    <a:pt x="5675" y="661"/>
                  </a:lnTo>
                  <a:cubicBezTo>
                    <a:pt x="5675" y="528"/>
                    <a:pt x="5619" y="466"/>
                    <a:pt x="5498" y="466"/>
                  </a:cubicBezTo>
                  <a:cubicBezTo>
                    <a:pt x="5385" y="466"/>
                    <a:pt x="5286" y="541"/>
                    <a:pt x="5286" y="676"/>
                  </a:cubicBezTo>
                  <a:lnTo>
                    <a:pt x="5286" y="1209"/>
                  </a:lnTo>
                  <a:lnTo>
                    <a:pt x="5167" y="1209"/>
                  </a:lnTo>
                  <a:lnTo>
                    <a:pt x="5167" y="377"/>
                  </a:lnTo>
                  <a:close/>
                  <a:moveTo>
                    <a:pt x="4844" y="377"/>
                  </a:moveTo>
                  <a:lnTo>
                    <a:pt x="4963" y="377"/>
                  </a:lnTo>
                  <a:lnTo>
                    <a:pt x="4963" y="1209"/>
                  </a:lnTo>
                  <a:lnTo>
                    <a:pt x="4844" y="1209"/>
                  </a:lnTo>
                  <a:lnTo>
                    <a:pt x="4844" y="377"/>
                  </a:lnTo>
                  <a:close/>
                  <a:moveTo>
                    <a:pt x="4825" y="133"/>
                  </a:moveTo>
                  <a:cubicBezTo>
                    <a:pt x="4825" y="90"/>
                    <a:pt x="4860" y="54"/>
                    <a:pt x="4903" y="54"/>
                  </a:cubicBezTo>
                  <a:cubicBezTo>
                    <a:pt x="4948" y="54"/>
                    <a:pt x="4983" y="90"/>
                    <a:pt x="4983" y="133"/>
                  </a:cubicBezTo>
                  <a:cubicBezTo>
                    <a:pt x="4983" y="178"/>
                    <a:pt x="4948" y="213"/>
                    <a:pt x="4903" y="213"/>
                  </a:cubicBezTo>
                  <a:cubicBezTo>
                    <a:pt x="4860" y="213"/>
                    <a:pt x="4825" y="178"/>
                    <a:pt x="4825" y="133"/>
                  </a:cubicBezTo>
                  <a:close/>
                  <a:moveTo>
                    <a:pt x="4502" y="192"/>
                  </a:moveTo>
                  <a:lnTo>
                    <a:pt x="4502" y="377"/>
                  </a:lnTo>
                  <a:lnTo>
                    <a:pt x="4682" y="377"/>
                  </a:lnTo>
                  <a:lnTo>
                    <a:pt x="4682" y="479"/>
                  </a:lnTo>
                  <a:lnTo>
                    <a:pt x="4502" y="479"/>
                  </a:lnTo>
                  <a:lnTo>
                    <a:pt x="4502" y="999"/>
                  </a:lnTo>
                  <a:cubicBezTo>
                    <a:pt x="4502" y="1080"/>
                    <a:pt x="4535" y="1116"/>
                    <a:pt x="4601" y="1116"/>
                  </a:cubicBezTo>
                  <a:cubicBezTo>
                    <a:pt x="4637" y="1116"/>
                    <a:pt x="4667" y="1112"/>
                    <a:pt x="4690" y="1102"/>
                  </a:cubicBezTo>
                  <a:lnTo>
                    <a:pt x="4690" y="1202"/>
                  </a:lnTo>
                  <a:cubicBezTo>
                    <a:pt x="4667" y="1210"/>
                    <a:pt x="4637" y="1218"/>
                    <a:pt x="4591" y="1218"/>
                  </a:cubicBezTo>
                  <a:cubicBezTo>
                    <a:pt x="4450" y="1218"/>
                    <a:pt x="4381" y="1137"/>
                    <a:pt x="4381" y="1010"/>
                  </a:cubicBezTo>
                  <a:lnTo>
                    <a:pt x="4381" y="479"/>
                  </a:lnTo>
                  <a:lnTo>
                    <a:pt x="4271" y="479"/>
                  </a:lnTo>
                  <a:lnTo>
                    <a:pt x="4271" y="377"/>
                  </a:lnTo>
                  <a:lnTo>
                    <a:pt x="4381" y="377"/>
                  </a:lnTo>
                  <a:lnTo>
                    <a:pt x="4381" y="192"/>
                  </a:lnTo>
                  <a:lnTo>
                    <a:pt x="4502" y="192"/>
                  </a:lnTo>
                  <a:close/>
                  <a:moveTo>
                    <a:pt x="4017" y="0"/>
                  </a:moveTo>
                  <a:lnTo>
                    <a:pt x="4139" y="0"/>
                  </a:lnTo>
                  <a:lnTo>
                    <a:pt x="4139" y="1209"/>
                  </a:lnTo>
                  <a:lnTo>
                    <a:pt x="4017" y="1209"/>
                  </a:lnTo>
                  <a:lnTo>
                    <a:pt x="4017" y="0"/>
                  </a:lnTo>
                  <a:close/>
                  <a:moveTo>
                    <a:pt x="3813" y="1209"/>
                  </a:moveTo>
                  <a:lnTo>
                    <a:pt x="3692" y="1209"/>
                  </a:lnTo>
                  <a:lnTo>
                    <a:pt x="3692" y="1083"/>
                  </a:lnTo>
                  <a:cubicBezTo>
                    <a:pt x="3657" y="1158"/>
                    <a:pt x="3573" y="1221"/>
                    <a:pt x="3452" y="1221"/>
                  </a:cubicBezTo>
                  <a:cubicBezTo>
                    <a:pt x="3299" y="1221"/>
                    <a:pt x="3191" y="1137"/>
                    <a:pt x="3191" y="929"/>
                  </a:cubicBezTo>
                  <a:lnTo>
                    <a:pt x="3191" y="377"/>
                  </a:lnTo>
                  <a:lnTo>
                    <a:pt x="3310" y="377"/>
                  </a:lnTo>
                  <a:lnTo>
                    <a:pt x="3310" y="924"/>
                  </a:lnTo>
                  <a:cubicBezTo>
                    <a:pt x="3310" y="1059"/>
                    <a:pt x="3366" y="1118"/>
                    <a:pt x="3484" y="1118"/>
                  </a:cubicBezTo>
                  <a:cubicBezTo>
                    <a:pt x="3594" y="1118"/>
                    <a:pt x="3692" y="1045"/>
                    <a:pt x="3692" y="910"/>
                  </a:cubicBezTo>
                  <a:lnTo>
                    <a:pt x="3692" y="377"/>
                  </a:lnTo>
                  <a:lnTo>
                    <a:pt x="3813" y="377"/>
                  </a:lnTo>
                  <a:lnTo>
                    <a:pt x="3813" y="1209"/>
                  </a:lnTo>
                  <a:close/>
                  <a:moveTo>
                    <a:pt x="2763" y="1221"/>
                  </a:moveTo>
                  <a:cubicBezTo>
                    <a:pt x="2575" y="1221"/>
                    <a:pt x="2458" y="1121"/>
                    <a:pt x="2453" y="957"/>
                  </a:cubicBezTo>
                  <a:lnTo>
                    <a:pt x="2571" y="957"/>
                  </a:lnTo>
                  <a:cubicBezTo>
                    <a:pt x="2577" y="1058"/>
                    <a:pt x="2636" y="1123"/>
                    <a:pt x="2761" y="1123"/>
                  </a:cubicBezTo>
                  <a:cubicBezTo>
                    <a:pt x="2881" y="1123"/>
                    <a:pt x="2935" y="1077"/>
                    <a:pt x="2935" y="988"/>
                  </a:cubicBezTo>
                  <a:cubicBezTo>
                    <a:pt x="2935" y="900"/>
                    <a:pt x="2873" y="870"/>
                    <a:pt x="2747" y="836"/>
                  </a:cubicBezTo>
                  <a:cubicBezTo>
                    <a:pt x="2553" y="786"/>
                    <a:pt x="2475" y="727"/>
                    <a:pt x="2475" y="588"/>
                  </a:cubicBezTo>
                  <a:cubicBezTo>
                    <a:pt x="2475" y="442"/>
                    <a:pt x="2614" y="364"/>
                    <a:pt x="2744" y="364"/>
                  </a:cubicBezTo>
                  <a:cubicBezTo>
                    <a:pt x="2889" y="364"/>
                    <a:pt x="3013" y="428"/>
                    <a:pt x="3027" y="601"/>
                  </a:cubicBezTo>
                  <a:lnTo>
                    <a:pt x="2913" y="601"/>
                  </a:lnTo>
                  <a:cubicBezTo>
                    <a:pt x="2898" y="507"/>
                    <a:pt x="2841" y="463"/>
                    <a:pt x="2744" y="463"/>
                  </a:cubicBezTo>
                  <a:cubicBezTo>
                    <a:pt x="2650" y="463"/>
                    <a:pt x="2588" y="510"/>
                    <a:pt x="2588" y="583"/>
                  </a:cubicBezTo>
                  <a:cubicBezTo>
                    <a:pt x="2588" y="661"/>
                    <a:pt x="2637" y="692"/>
                    <a:pt x="2779" y="728"/>
                  </a:cubicBezTo>
                  <a:cubicBezTo>
                    <a:pt x="2940" y="770"/>
                    <a:pt x="3049" y="814"/>
                    <a:pt x="3049" y="980"/>
                  </a:cubicBezTo>
                  <a:cubicBezTo>
                    <a:pt x="3049" y="1126"/>
                    <a:pt x="2954" y="1221"/>
                    <a:pt x="2763" y="1221"/>
                  </a:cubicBezTo>
                  <a:close/>
                  <a:moveTo>
                    <a:pt x="1688" y="377"/>
                  </a:moveTo>
                  <a:lnTo>
                    <a:pt x="1807" y="377"/>
                  </a:lnTo>
                  <a:lnTo>
                    <a:pt x="1807" y="502"/>
                  </a:lnTo>
                  <a:cubicBezTo>
                    <a:pt x="1842" y="429"/>
                    <a:pt x="1926" y="364"/>
                    <a:pt x="2052" y="364"/>
                  </a:cubicBezTo>
                  <a:cubicBezTo>
                    <a:pt x="2208" y="364"/>
                    <a:pt x="2316" y="451"/>
                    <a:pt x="2316" y="669"/>
                  </a:cubicBezTo>
                  <a:lnTo>
                    <a:pt x="2316" y="1209"/>
                  </a:lnTo>
                  <a:lnTo>
                    <a:pt x="2195" y="1209"/>
                  </a:lnTo>
                  <a:lnTo>
                    <a:pt x="2195" y="661"/>
                  </a:lnTo>
                  <a:cubicBezTo>
                    <a:pt x="2195" y="528"/>
                    <a:pt x="2139" y="466"/>
                    <a:pt x="2018" y="466"/>
                  </a:cubicBezTo>
                  <a:cubicBezTo>
                    <a:pt x="1905" y="466"/>
                    <a:pt x="1807" y="541"/>
                    <a:pt x="1807" y="676"/>
                  </a:cubicBezTo>
                  <a:lnTo>
                    <a:pt x="1807" y="1209"/>
                  </a:lnTo>
                  <a:lnTo>
                    <a:pt x="1688" y="1209"/>
                  </a:lnTo>
                  <a:lnTo>
                    <a:pt x="1688" y="377"/>
                  </a:lnTo>
                  <a:close/>
                  <a:moveTo>
                    <a:pt x="1404" y="843"/>
                  </a:moveTo>
                  <a:lnTo>
                    <a:pt x="1404" y="746"/>
                  </a:lnTo>
                  <a:cubicBezTo>
                    <a:pt x="1404" y="571"/>
                    <a:pt x="1310" y="463"/>
                    <a:pt x="1164" y="463"/>
                  </a:cubicBezTo>
                  <a:cubicBezTo>
                    <a:pt x="1015" y="463"/>
                    <a:pt x="922" y="572"/>
                    <a:pt x="922" y="744"/>
                  </a:cubicBezTo>
                  <a:lnTo>
                    <a:pt x="922" y="843"/>
                  </a:lnTo>
                  <a:cubicBezTo>
                    <a:pt x="922" y="1013"/>
                    <a:pt x="1013" y="1123"/>
                    <a:pt x="1164" y="1123"/>
                  </a:cubicBezTo>
                  <a:cubicBezTo>
                    <a:pt x="1312" y="1123"/>
                    <a:pt x="1404" y="1013"/>
                    <a:pt x="1404" y="843"/>
                  </a:cubicBezTo>
                  <a:close/>
                  <a:moveTo>
                    <a:pt x="800" y="843"/>
                  </a:moveTo>
                  <a:lnTo>
                    <a:pt x="800" y="744"/>
                  </a:lnTo>
                  <a:cubicBezTo>
                    <a:pt x="800" y="517"/>
                    <a:pt x="952" y="364"/>
                    <a:pt x="1164" y="364"/>
                  </a:cubicBezTo>
                  <a:cubicBezTo>
                    <a:pt x="1376" y="364"/>
                    <a:pt x="1527" y="513"/>
                    <a:pt x="1527" y="743"/>
                  </a:cubicBezTo>
                  <a:lnTo>
                    <a:pt x="1527" y="841"/>
                  </a:lnTo>
                  <a:cubicBezTo>
                    <a:pt x="1527" y="1072"/>
                    <a:pt x="1376" y="1221"/>
                    <a:pt x="1162" y="1221"/>
                  </a:cubicBezTo>
                  <a:cubicBezTo>
                    <a:pt x="949" y="1221"/>
                    <a:pt x="800" y="1066"/>
                    <a:pt x="800" y="843"/>
                  </a:cubicBezTo>
                  <a:close/>
                  <a:moveTo>
                    <a:pt x="362" y="1221"/>
                  </a:moveTo>
                  <a:cubicBezTo>
                    <a:pt x="154" y="1221"/>
                    <a:pt x="0" y="1081"/>
                    <a:pt x="0" y="844"/>
                  </a:cubicBezTo>
                  <a:lnTo>
                    <a:pt x="0" y="746"/>
                  </a:lnTo>
                  <a:cubicBezTo>
                    <a:pt x="0" y="512"/>
                    <a:pt x="159" y="364"/>
                    <a:pt x="357" y="364"/>
                  </a:cubicBezTo>
                  <a:cubicBezTo>
                    <a:pt x="520" y="364"/>
                    <a:pt x="663" y="439"/>
                    <a:pt x="682" y="639"/>
                  </a:cubicBezTo>
                  <a:lnTo>
                    <a:pt x="564" y="639"/>
                  </a:lnTo>
                  <a:cubicBezTo>
                    <a:pt x="550" y="509"/>
                    <a:pt x="462" y="463"/>
                    <a:pt x="357" y="463"/>
                  </a:cubicBezTo>
                  <a:cubicBezTo>
                    <a:pt x="221" y="463"/>
                    <a:pt x="122" y="568"/>
                    <a:pt x="122" y="746"/>
                  </a:cubicBezTo>
                  <a:lnTo>
                    <a:pt x="122" y="844"/>
                  </a:lnTo>
                  <a:cubicBezTo>
                    <a:pt x="122" y="1029"/>
                    <a:pt x="219" y="1123"/>
                    <a:pt x="362" y="1123"/>
                  </a:cubicBezTo>
                  <a:cubicBezTo>
                    <a:pt x="470" y="1123"/>
                    <a:pt x="566" y="1059"/>
                    <a:pt x="575" y="924"/>
                  </a:cubicBezTo>
                  <a:lnTo>
                    <a:pt x="687" y="924"/>
                  </a:lnTo>
                  <a:cubicBezTo>
                    <a:pt x="674" y="1105"/>
                    <a:pt x="544" y="1221"/>
                    <a:pt x="362" y="12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sp>
        <p:nvSpPr>
          <p:cNvPr id="4113" name="Rectangle 17"/>
          <p:cNvSpPr>
            <a:spLocks noGrp="1" noChangeArrowheads="1"/>
          </p:cNvSpPr>
          <p:nvPr userDrawn="1">
            <p:ph type="ctrTitle" sz="quarter"/>
          </p:nvPr>
        </p:nvSpPr>
        <p:spPr bwMode="auto">
          <a:xfrm>
            <a:off x="6732000" y="465114"/>
            <a:ext cx="5112000" cy="2929194"/>
          </a:xfrm>
        </p:spPr>
        <p:txBody>
          <a:bodyPr wrap="square" tIns="0" anchor="b" anchorCtr="0">
            <a:noAutofit/>
          </a:bodyPr>
          <a:lstStyle>
            <a:lvl1pPr>
              <a:lnSpc>
                <a:spcPts val="4100"/>
              </a:lnSpc>
              <a:defRPr sz="44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114" name="Rectangle 18"/>
          <p:cNvSpPr>
            <a:spLocks noGrp="1" noChangeArrowheads="1"/>
          </p:cNvSpPr>
          <p:nvPr userDrawn="1">
            <p:ph type="subTitle" sz="quarter" idx="1"/>
          </p:nvPr>
        </p:nvSpPr>
        <p:spPr>
          <a:xfrm>
            <a:off x="6732000" y="3674895"/>
            <a:ext cx="5112000" cy="430887"/>
          </a:xfrm>
          <a:ln w="9525"/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2897671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2" y="1412876"/>
            <a:ext cx="11429999" cy="1000274"/>
          </a:xfrm>
        </p:spPr>
        <p:txBody>
          <a:bodyPr>
            <a:spAutoFit/>
          </a:bodyPr>
          <a:lstStyle>
            <a:lvl3pPr marL="536561" indent="-182558">
              <a:buFont typeface="Arial" panose="020B0604020202020204" pitchFamily="34" charset="0"/>
              <a:buChar char="-"/>
              <a:defRPr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2" y="1764001"/>
            <a:ext cx="11429999" cy="1000274"/>
          </a:xfrm>
        </p:spPr>
        <p:txBody>
          <a:bodyPr>
            <a:spAutoFit/>
          </a:bodyPr>
          <a:lstStyle>
            <a:lvl3pPr marL="536561" indent="-182558">
              <a:buFont typeface="Arial" panose="020B0604020202020204" pitchFamily="34" charset="0"/>
              <a:buChar char="-"/>
              <a:defRPr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81000" y="1412876"/>
            <a:ext cx="11430000" cy="294953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1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81000" y="1425574"/>
            <a:ext cx="11430000" cy="612000"/>
          </a:xfrm>
        </p:spPr>
        <p:txBody>
          <a:bodyPr>
            <a:noAutofit/>
          </a:bodyPr>
          <a:lstStyle>
            <a:lvl1pPr marL="0" indent="0">
              <a:lnSpc>
                <a:spcPts val="2300"/>
              </a:lnSpc>
              <a:buNone/>
              <a:defRPr sz="21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81001" y="6617412"/>
            <a:ext cx="467539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2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85000"/>
                  </a:schemeClr>
                </a:solidFill>
              </a:rPr>
              <a:t>Copyright © 2017 Accenture. All rights reserved. Proprietary and confidential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189021" y="6617412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8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417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81001" y="6617412"/>
            <a:ext cx="467539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2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Copyright © 2017 Accenture. All rights reserved. Proprietary and confidential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189021" y="6617412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082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s Only: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381000"/>
            <a:ext cx="11430000" cy="2232000"/>
          </a:xfrm>
        </p:spPr>
        <p:txBody>
          <a:bodyPr>
            <a:noAutofit/>
          </a:bodyPr>
          <a:lstStyle>
            <a:lvl1pPr marL="0" indent="0">
              <a:lnSpc>
                <a:spcPts val="5600"/>
              </a:lnSpc>
              <a:buNone/>
              <a:defRPr sz="5400" cap="all" baseline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48461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7200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6"/>
            <a:ext cx="1143000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1" y="6617412"/>
            <a:ext cx="467539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2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19 Accenture. All rights reserved. Proprietary and confidential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1" y="6617412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30" r:id="rId2"/>
    <p:sldLayoutId id="2147483676" r:id="rId3"/>
    <p:sldLayoutId id="2147483711" r:id="rId4"/>
    <p:sldLayoutId id="2147483712" r:id="rId5"/>
    <p:sldLayoutId id="2147483713" r:id="rId6"/>
    <p:sldLayoutId id="2147483731" r:id="rId7"/>
    <p:sldLayoutId id="2147483732" r:id="rId8"/>
    <p:sldLayoutId id="2147483670" r:id="rId9"/>
    <p:sldLayoutId id="2147483715" r:id="rId10"/>
    <p:sldLayoutId id="2147483727" r:id="rId11"/>
    <p:sldLayoutId id="2147483729" r:id="rId12"/>
    <p:sldLayoutId id="2147483734" r:id="rId13"/>
  </p:sldLayoutIdLst>
  <p:hf hdr="0" dt="0"/>
  <p:txStyles>
    <p:titleStyle>
      <a:lvl1pPr marL="0" indent="0" algn="l" defTabSz="914354" rtl="0" eaLnBrk="1" latinLnBrk="0" hangingPunct="1">
        <a:lnSpc>
          <a:spcPct val="80000"/>
        </a:lnSpc>
        <a:spcBef>
          <a:spcPct val="0"/>
        </a:spcBef>
        <a:buNone/>
        <a:defRPr sz="2600" b="0" kern="1200" cap="all" baseline="0">
          <a:solidFill>
            <a:srgbClr val="7500C0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77796" indent="-177796" algn="l" defTabSz="914354" rtl="0" eaLnBrk="1" latinLnBrk="0" hangingPunct="1">
        <a:lnSpc>
          <a:spcPts val="22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900" b="0" kern="1200" cap="none" baseline="0">
          <a:solidFill>
            <a:schemeClr val="tx2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1942" indent="-184146" algn="l" defTabSz="914354" rtl="0" eaLnBrk="1" latinLnBrk="0" hangingPunct="1">
        <a:lnSpc>
          <a:spcPts val="22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-"/>
        <a:defRPr sz="1900" kern="1200">
          <a:solidFill>
            <a:schemeClr val="tx2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61" indent="-174621" algn="l" defTabSz="914354" rtl="0" eaLnBrk="1" latinLnBrk="0" hangingPunct="1">
        <a:lnSpc>
          <a:spcPts val="22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-"/>
        <a:defRPr sz="1900" kern="1200">
          <a:solidFill>
            <a:schemeClr val="tx2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766" indent="-171442" algn="l" defTabSz="9143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08" indent="-177792" algn="l" defTabSz="9143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49" indent="-173030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0" indent="0" algn="l" defTabSz="914354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0" indent="0" algn="l" defTabSz="91435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0" indent="0" algn="l" defTabSz="914354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ame Side Corner Rectangle 13"/>
          <p:cNvSpPr/>
          <p:nvPr/>
        </p:nvSpPr>
        <p:spPr>
          <a:xfrm rot="5400000">
            <a:off x="3437399" y="-703427"/>
            <a:ext cx="288000" cy="440084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000"/>
              </a:lnSpc>
            </a:pPr>
            <a:r>
              <a:rPr lang="sv-SE" sz="1400" b="1" cap="all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Professional backgroun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379928" y="1640998"/>
            <a:ext cx="4348264" cy="18030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 defTabSz="912813">
              <a:spcBef>
                <a:spcPct val="20000"/>
              </a:spcBef>
              <a:defRPr/>
            </a:pPr>
            <a:endParaRPr lang="en-US" sz="100" dirty="0">
              <a:solidFill>
                <a:srgbClr val="000000"/>
              </a:solidFill>
              <a:latin typeface="Graphik" panose="020B0503030202060203" pitchFamily="34" charset="0"/>
              <a:ea typeface="MS PGothic" panose="020B0600070205080204" pitchFamily="34" charset="-128"/>
            </a:endParaRPr>
          </a:p>
          <a:p>
            <a:pPr algn="just" defTabSz="912813">
              <a:defRPr/>
            </a:pPr>
            <a:r>
              <a:rPr lang="en-US" sz="1000" dirty="0" smtClean="0"/>
              <a:t>Vijay</a:t>
            </a:r>
            <a:r>
              <a:rPr lang="en-US" sz="1000" dirty="0" smtClean="0"/>
              <a:t> </a:t>
            </a:r>
            <a:r>
              <a:rPr lang="en-US" sz="1000" dirty="0"/>
              <a:t>is </a:t>
            </a:r>
            <a:r>
              <a:rPr lang="en-US" sz="1000" dirty="0" smtClean="0"/>
              <a:t>an experienced Credit Services Advisory Analyst with over </a:t>
            </a:r>
            <a:r>
              <a:rPr lang="en-US" sz="1000" dirty="0" smtClean="0"/>
              <a:t>12 </a:t>
            </a:r>
            <a:r>
              <a:rPr lang="en-US" sz="1000" dirty="0"/>
              <a:t>years of experience across multiple areas of </a:t>
            </a:r>
            <a:r>
              <a:rPr lang="en-US" sz="1000" dirty="0" smtClean="0"/>
              <a:t>operation domains. </a:t>
            </a:r>
            <a:r>
              <a:rPr lang="en-US" sz="1000" dirty="0"/>
              <a:t>He has </a:t>
            </a:r>
            <a:r>
              <a:rPr lang="en-US" sz="1000" dirty="0" smtClean="0"/>
              <a:t>experience in the areas of Compliance, Operational Risk Analysis applying domain and business acquaintance expertise in </a:t>
            </a:r>
            <a:r>
              <a:rPr lang="en-US" sz="1000" dirty="0" smtClean="0"/>
              <a:t>Investment Banking &amp; Insurance and </a:t>
            </a:r>
            <a:r>
              <a:rPr lang="en-US" sz="1000" dirty="0" smtClean="0"/>
              <a:t> </a:t>
            </a:r>
            <a:r>
              <a:rPr lang="en-US" sz="1000" dirty="0" smtClean="0"/>
              <a:t>Regulatory </a:t>
            </a:r>
            <a:r>
              <a:rPr lang="en-US" sz="1000" dirty="0" smtClean="0"/>
              <a:t>Requirements.</a:t>
            </a:r>
            <a:endParaRPr lang="en-US" sz="1000" dirty="0"/>
          </a:p>
          <a:p>
            <a:pPr marL="171450" indent="-171450" algn="just" defTabSz="912813">
              <a:buFont typeface="Arial" panose="020B0604020202020204" pitchFamily="34" charset="0"/>
              <a:buChar char="•"/>
              <a:defRPr/>
            </a:pPr>
            <a:endParaRPr lang="en-US" sz="1000" dirty="0"/>
          </a:p>
          <a:p>
            <a:pPr algn="just" defTabSz="912813">
              <a:defRPr/>
            </a:pPr>
            <a:endParaRPr lang="en-US" sz="1000" dirty="0"/>
          </a:p>
          <a:p>
            <a:pPr defTabSz="912813">
              <a:defRPr/>
            </a:pPr>
            <a:endParaRPr lang="en-US" sz="1000" dirty="0">
              <a:solidFill>
                <a:srgbClr val="FF0000"/>
              </a:solidFill>
              <a:ea typeface="ＭＳ Ｐゴシック" pitchFamily="34" charset="-128"/>
            </a:endParaRPr>
          </a:p>
          <a:p>
            <a:pPr defTabSz="957816" eaLnBrk="0" fontAlgn="base" hangingPunct="0">
              <a:spcBef>
                <a:spcPts val="540"/>
              </a:spcBef>
              <a:spcAft>
                <a:spcPct val="0"/>
              </a:spcAft>
              <a:buClr>
                <a:srgbClr val="337722"/>
              </a:buClr>
              <a:defRPr/>
            </a:pPr>
            <a:r>
              <a:rPr lang="en-US" altLang="zh-SG" sz="1000" b="1" kern="0" dirty="0">
                <a:solidFill>
                  <a:srgbClr val="000000"/>
                </a:solidFill>
                <a:ea typeface="宋体" pitchFamily="1" charset="-122"/>
              </a:rPr>
              <a:t>Education</a:t>
            </a:r>
            <a:r>
              <a:rPr lang="en-US" altLang="zh-SG" sz="1000" kern="0" dirty="0">
                <a:solidFill>
                  <a:srgbClr val="000000"/>
                </a:solidFill>
                <a:ea typeface="宋体" pitchFamily="1" charset="-122"/>
              </a:rPr>
              <a:t>:</a:t>
            </a:r>
          </a:p>
          <a:p>
            <a:pPr marL="171450" indent="-171450" defTabSz="957816" eaLnBrk="0" fontAlgn="base" hangingPunct="0">
              <a:spcAft>
                <a:spcPct val="0"/>
              </a:spcAft>
              <a:buClr>
                <a:srgbClr val="337722"/>
              </a:buClr>
              <a:buFont typeface="Arial" panose="020B0604020202020204" pitchFamily="34" charset="0"/>
              <a:buChar char="•"/>
              <a:defRPr/>
            </a:pPr>
            <a:r>
              <a:rPr lang="en-US" altLang="zh-SG" sz="1000" kern="0" dirty="0" smtClean="0">
                <a:ea typeface="宋体" pitchFamily="1" charset="-122"/>
              </a:rPr>
              <a:t>Bachelors </a:t>
            </a:r>
            <a:r>
              <a:rPr lang="en-US" altLang="zh-SG" sz="1000" kern="0" dirty="0">
                <a:ea typeface="宋体" pitchFamily="1" charset="-122"/>
              </a:rPr>
              <a:t>in </a:t>
            </a:r>
            <a:r>
              <a:rPr lang="en-US" altLang="zh-SG" sz="1000" kern="0" dirty="0" smtClean="0">
                <a:ea typeface="宋体" pitchFamily="1" charset="-122"/>
              </a:rPr>
              <a:t>Statistics</a:t>
            </a:r>
            <a:r>
              <a:rPr lang="en-US" altLang="zh-SG" sz="1000" kern="0" dirty="0" smtClean="0">
                <a:ea typeface="宋体" pitchFamily="1" charset="-122"/>
              </a:rPr>
              <a:t> </a:t>
            </a:r>
            <a:r>
              <a:rPr lang="en-US" altLang="zh-SG" sz="1000" kern="0" dirty="0">
                <a:ea typeface="宋体" pitchFamily="1" charset="-122"/>
              </a:rPr>
              <a:t>from </a:t>
            </a:r>
            <a:r>
              <a:rPr lang="en-US" altLang="zh-SG" sz="1000" kern="0" dirty="0" smtClean="0">
                <a:ea typeface="宋体" pitchFamily="1" charset="-122"/>
              </a:rPr>
              <a:t>Madras </a:t>
            </a:r>
            <a:r>
              <a:rPr lang="en-US" altLang="zh-SG" sz="1000" kern="0" dirty="0">
                <a:ea typeface="宋体" pitchFamily="1" charset="-122"/>
              </a:rPr>
              <a:t>University</a:t>
            </a:r>
          </a:p>
          <a:p>
            <a:pPr defTabSz="912813">
              <a:spcBef>
                <a:spcPct val="20000"/>
              </a:spcBef>
            </a:pP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9" name="Round Same Side Corner Rectangle 18"/>
          <p:cNvSpPr/>
          <p:nvPr/>
        </p:nvSpPr>
        <p:spPr>
          <a:xfrm rot="5400000">
            <a:off x="8766440" y="-1445127"/>
            <a:ext cx="288000" cy="5801119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000"/>
              </a:lnSpc>
            </a:pPr>
            <a:r>
              <a:rPr lang="sv-SE" sz="1400" b="1" cap="all" dirty="0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Selected</a:t>
            </a:r>
            <a:r>
              <a:rPr lang="sv-SE" sz="1600" b="1" dirty="0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 </a:t>
            </a:r>
            <a:r>
              <a:rPr lang="sv-SE" sz="1400" b="1" cap="all" dirty="0" smtClean="0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experience</a:t>
            </a:r>
            <a:endParaRPr lang="sv-SE" sz="1400" b="1" cap="all" dirty="0">
              <a:solidFill>
                <a:schemeClr val="accent1">
                  <a:lumMod val="50000"/>
                </a:schemeClr>
              </a:solidFill>
              <a:latin typeface="Graphik" panose="020B050303020206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009881" y="1598443"/>
            <a:ext cx="5801119" cy="524040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12813">
              <a:lnSpc>
                <a:spcPts val="1020"/>
              </a:lnSpc>
              <a:spcBef>
                <a:spcPts val="200"/>
              </a:spcBef>
              <a:tabLst>
                <a:tab pos="917575" algn="l"/>
              </a:tabLst>
            </a:pPr>
            <a:r>
              <a:rPr lang="en-US" sz="900" b="1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Regulatory Compliance, Operations </a:t>
            </a:r>
            <a:r>
              <a:rPr lang="en-US" sz="900" b="1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Risk RCSA Control Testing, </a:t>
            </a:r>
            <a:r>
              <a:rPr lang="en-US" sz="900" b="1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North America (US Bank)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Well Versed in Compliance Testing (Regulator Monitoring), Controls Monitoring, Control Validation, Credit Risk Analysis &amp; Anti-Money Laundering end to end, Regulatory compliance testing and Extensive expertise in Banking Law &amp; Requirements, reviewing, analyzing and writing detailed Test Plans for Controls to ensure streamlining of LOB.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 smtClean="0"/>
              <a:t>Well versed in Analyzing Desktop Procedures and Identifying Process Gap and Compiled and analyzed data to determine compliance with applicable laws, rules, and regulations.</a:t>
            </a:r>
            <a:endParaRPr lang="en-US" sz="900" b="1" dirty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Conducted exhaustive client interviews &amp; documentation to develop detailed process maps &amp; document the as-is procedures for the finance and risk functions of the bank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Identified associated risks &amp; controls and conducted control testing walkthroughs with the client stakeholders to rate the existing controls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Developed structured control test plans, executed the tests and documented the results enabling the client to fulfill the regulatory requirement in a successful manner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Designed executive dashboard for senior leadership, summarizing the results of control testing including results of most recent testing and comparison with prior testing </a:t>
            </a:r>
            <a:r>
              <a:rPr lang="en-US" sz="900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results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Expert in writing Remediation and Recommendation for ineffective controls and timely implementation of remediation’s to the Line of Business.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Communicate with client’s expertise to understand the design testing framework, test plan, prior issues on the testing, sampling methodology and remediation process.  </a:t>
            </a:r>
            <a:endParaRPr lang="en-US" sz="900" dirty="0" smtClean="0"/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tabLst>
                <a:tab pos="917575" algn="l"/>
              </a:tabLs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Investment Banking and Life Insurance</a:t>
            </a:r>
            <a:endParaRPr lang="en-US" sz="900" b="1" dirty="0" smtClean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71450" marR="6350" lvl="2" indent="-171450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r>
              <a:rPr lang="en-US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Analyzing I</a:t>
            </a: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the Life insurance related documents sent by brokers to the </a:t>
            </a: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client</a:t>
            </a:r>
            <a:r>
              <a:rPr lang="en-IN" sz="900" dirty="0" smtClean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.</a:t>
            </a:r>
            <a:endParaRPr lang="en-US" sz="900" dirty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Updating the client portal by accepting or declining the policies based on client requirements &amp; US banking regulations.</a:t>
            </a: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Reviewing the Insurance related documents of the individuals residing in United States.</a:t>
            </a: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Calculating </a:t>
            </a:r>
            <a:r>
              <a:rPr lang="en-IN" sz="900" dirty="0" err="1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MinCOI</a:t>
            </a: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 for the received illustrations.</a:t>
            </a: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Updating the highly sensitive “accepted Bid information” to client portal.</a:t>
            </a: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Checking the status of policies / </a:t>
            </a:r>
            <a:r>
              <a:rPr lang="en-IN" sz="900" dirty="0" err="1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insureds</a:t>
            </a: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 involved in portfolios or trade</a:t>
            </a:r>
          </a:p>
          <a:p>
            <a:pPr marL="171450" indent="-171450" fontAlgn="base">
              <a:buFont typeface="Arial" pitchFamily="34" charset="0"/>
              <a:buChar char="•"/>
            </a:pPr>
            <a:r>
              <a:rPr lang="en-IN" sz="9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Projecting Premium Amount to be paid for the policy to the policy Active.</a:t>
            </a: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900" dirty="0" smtClean="0"/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tabLst>
                <a:tab pos="917575" algn="l"/>
              </a:tabLst>
              <a:defRPr/>
            </a:pPr>
            <a:endParaRPr lang="en-US" sz="900" b="1" dirty="0" smtClean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900" dirty="0" smtClean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900" dirty="0" smtClean="0"/>
          </a:p>
          <a:p>
            <a:pPr marL="109538" marR="6350" lvl="2" indent="-109538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900" dirty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09538" marR="6350" lvl="2" indent="-109538" algn="just" defTabSz="912813" eaLnBrk="0" fontAlgn="base" hangingPunct="0"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500" dirty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L="109538" marR="6350" lvl="2" indent="-109538" defTabSz="912813" eaLnBrk="0" fontAlgn="base" hangingPunct="0">
              <a:spcAft>
                <a:spcPts val="100"/>
              </a:spcAft>
              <a:buClr>
                <a:prstClr val="black"/>
              </a:buClr>
              <a:buFont typeface="Arial" panose="020B0604020202020204" pitchFamily="34" charset="0"/>
              <a:buChar char="•"/>
              <a:tabLst>
                <a:tab pos="917575" algn="l"/>
              </a:tabLst>
              <a:defRPr/>
            </a:pPr>
            <a:endParaRPr lang="en-US" sz="500" dirty="0">
              <a:solidFill>
                <a:srgbClr val="000000"/>
              </a:solidFill>
              <a:latin typeface="Graphik" panose="020B0503030202060203" pitchFamily="34" charset="0"/>
              <a:cs typeface="Arial" charset="0"/>
            </a:endParaRPr>
          </a:p>
          <a:p>
            <a:pPr marR="6350" lvl="0" defTabSz="912813">
              <a:spcBef>
                <a:spcPct val="20000"/>
              </a:spcBef>
              <a:tabLst>
                <a:tab pos="228600" algn="l"/>
              </a:tabLst>
            </a:pPr>
            <a:endParaRPr lang="en-US" sz="400" dirty="0">
              <a:latin typeface="Graphik" panose="020B0503030202060203" pitchFamily="34" charset="0"/>
            </a:endParaRPr>
          </a:p>
        </p:txBody>
      </p:sp>
      <p:sp>
        <p:nvSpPr>
          <p:cNvPr id="8" name="Round Same Side Corner Rectangle 7"/>
          <p:cNvSpPr/>
          <p:nvPr/>
        </p:nvSpPr>
        <p:spPr>
          <a:xfrm rot="5400000">
            <a:off x="4288192" y="3310454"/>
            <a:ext cx="288000" cy="259200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000"/>
              </a:lnSpc>
            </a:pPr>
            <a:r>
              <a:rPr lang="sv-SE" sz="1400" b="1" cap="all" dirty="0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industries</a:t>
            </a:r>
          </a:p>
        </p:txBody>
      </p:sp>
      <p:sp>
        <p:nvSpPr>
          <p:cNvPr id="9" name="Rectangle 8"/>
          <p:cNvSpPr/>
          <p:nvPr/>
        </p:nvSpPr>
        <p:spPr>
          <a:xfrm>
            <a:off x="380999" y="4815769"/>
            <a:ext cx="2671689" cy="1661234"/>
          </a:xfrm>
          <a:prstGeom prst="rect">
            <a:avLst/>
          </a:prstGeom>
        </p:spPr>
        <p:txBody>
          <a:bodyPr wrap="square" lIns="0" tIns="0" rIns="0" bIns="0" numCol="1" spcCol="72000">
            <a:noAutofit/>
          </a:bodyPr>
          <a:lstStyle/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 smtClean="0">
                <a:latin typeface="Graphik" panose="020B0503030202060203"/>
              </a:rPr>
              <a:t>Compliance Testing</a:t>
            </a:r>
            <a:endParaRPr lang="en-US" sz="1040" dirty="0">
              <a:latin typeface="Graphik" panose="020B0503030202060203"/>
            </a:endParaRP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 smtClean="0">
                <a:latin typeface="Graphik" panose="020B0503030202060203"/>
              </a:rPr>
              <a:t>Operational </a:t>
            </a:r>
            <a:r>
              <a:rPr lang="en-US" sz="1040" dirty="0" smtClean="0">
                <a:latin typeface="Graphik" panose="020B0503030202060203"/>
              </a:rPr>
              <a:t>Risk </a:t>
            </a:r>
            <a:endParaRPr lang="en-US" sz="1040" dirty="0">
              <a:latin typeface="Graphik" panose="020B0503030202060203"/>
            </a:endParaRP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>
                <a:latin typeface="Graphik" panose="020B0503030202060203"/>
              </a:rPr>
              <a:t>Regulatory Implementation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>
                <a:latin typeface="Graphik" panose="020B0503030202060203"/>
              </a:rPr>
              <a:t>Control Testing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 smtClean="0">
                <a:latin typeface="Graphik" panose="020B0503030202060203"/>
              </a:rPr>
              <a:t>Investment Banking</a:t>
            </a:r>
            <a:endParaRPr lang="en-US" sz="1040" dirty="0">
              <a:latin typeface="Graphik" panose="020B0503030202060203"/>
            </a:endParaRP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040" dirty="0" smtClean="0">
                <a:latin typeface="Graphik" panose="020B0503030202060203"/>
              </a:rPr>
              <a:t>Life Insurance</a:t>
            </a:r>
            <a:endParaRPr lang="en-US" sz="1040" dirty="0">
              <a:latin typeface="Graphik" panose="020B0503030202060203"/>
            </a:endParaRPr>
          </a:p>
          <a:p>
            <a:pPr>
              <a:lnSpc>
                <a:spcPct val="100000"/>
              </a:lnSpc>
            </a:pPr>
            <a:endParaRPr lang="en-US" sz="1040" dirty="0">
              <a:latin typeface="Graphik" panose="020B0503030202060203"/>
            </a:endParaRPr>
          </a:p>
          <a:p>
            <a:pPr marL="0" lvl="1" defTabSz="911203">
              <a:buClr>
                <a:srgbClr val="000000"/>
              </a:buClr>
              <a:defRPr/>
            </a:pPr>
            <a:endParaRPr lang="en-US" altLang="en-US" sz="1000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803DBF6A-F96A-47BB-BA78-737D7906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8" y="380997"/>
            <a:ext cx="11430000" cy="972000"/>
          </a:xfrm>
        </p:spPr>
        <p:txBody>
          <a:bodyPr/>
          <a:lstStyle/>
          <a:p>
            <a:r>
              <a:rPr lang="en-AU" sz="2800" b="1" dirty="0" smtClean="0">
                <a:solidFill>
                  <a:schemeClr val="tx1"/>
                </a:solidFill>
                <a:latin typeface="Graphik" panose="020B0503030202060203" pitchFamily="34" charset="0"/>
              </a:rPr>
              <a:t>VIJAY ANAND WALTER</a:t>
            </a:r>
            <a:r>
              <a:rPr lang="en-AU" sz="2800" b="1" dirty="0">
                <a:latin typeface="Graphik" panose="020B0503030202060203" pitchFamily="34" charset="0"/>
              </a:rPr>
              <a:t/>
            </a:r>
            <a:br>
              <a:rPr lang="en-AU" sz="2800" b="1" dirty="0">
                <a:latin typeface="Graphik" panose="020B0503030202060203" pitchFamily="34" charset="0"/>
              </a:rPr>
            </a:br>
            <a:r>
              <a:rPr lang="en-AU" sz="2400" b="1" dirty="0" smtClean="0">
                <a:latin typeface="Graphik" panose="020B0503030202060203" pitchFamily="34" charset="0"/>
              </a:rPr>
              <a:t>rISK AND COMPLIANCE CONSULTANT </a:t>
            </a:r>
            <a:endParaRPr lang="en-AU" sz="2800" b="1" dirty="0">
              <a:latin typeface="Graphik" panose="020B0503030202060203" pitchFamily="34" charset="0"/>
            </a:endParaRPr>
          </a:p>
        </p:txBody>
      </p:sp>
      <p:sp>
        <p:nvSpPr>
          <p:cNvPr id="22" name="Round Same Side Corner Rectangle 7">
            <a:extLst>
              <a:ext uri="{FF2B5EF4-FFF2-40B4-BE49-F238E27FC236}">
                <a16:creationId xmlns:a16="http://schemas.microsoft.com/office/drawing/2014/main" xmlns="" id="{33097BBD-D269-4AC1-B593-E19250A57855}"/>
              </a:ext>
            </a:extLst>
          </p:cNvPr>
          <p:cNvSpPr/>
          <p:nvPr/>
        </p:nvSpPr>
        <p:spPr>
          <a:xfrm rot="5400000">
            <a:off x="1533000" y="3310454"/>
            <a:ext cx="288000" cy="259200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000"/>
              </a:lnSpc>
            </a:pPr>
            <a:r>
              <a:rPr lang="sv-SE" sz="1400" b="1" cap="all" dirty="0">
                <a:solidFill>
                  <a:schemeClr val="accent1">
                    <a:lumMod val="50000"/>
                  </a:schemeClr>
                </a:solidFill>
                <a:latin typeface="Graphik" panose="020B0503030202060203" pitchFamily="34" charset="0"/>
              </a:rPr>
              <a:t>Competenc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398BD7D-74F9-425E-82B8-3B0C27E5711C}"/>
              </a:ext>
            </a:extLst>
          </p:cNvPr>
          <p:cNvSpPr/>
          <p:nvPr/>
        </p:nvSpPr>
        <p:spPr>
          <a:xfrm>
            <a:off x="3136192" y="4826655"/>
            <a:ext cx="2592000" cy="1542928"/>
          </a:xfrm>
          <a:prstGeom prst="rect">
            <a:avLst/>
          </a:prstGeom>
        </p:spPr>
        <p:txBody>
          <a:bodyPr wrap="square" lIns="0" tIns="0" rIns="0" bIns="0" numCol="1" spcCol="72000">
            <a:noAutofit/>
          </a:bodyPr>
          <a:lstStyle/>
          <a:p>
            <a:pPr marL="171450" lvl="1" indent="-171450"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40" dirty="0">
                <a:latin typeface="Graphik" panose="020B0503030202060203"/>
              </a:rPr>
              <a:t>Banking</a:t>
            </a:r>
          </a:p>
          <a:p>
            <a:pPr marL="171450" lvl="1" indent="-171450"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40" dirty="0" smtClean="0">
                <a:latin typeface="Graphik" panose="020B0503030202060203"/>
              </a:rPr>
              <a:t>Insurance</a:t>
            </a:r>
            <a:endParaRPr lang="en-US" sz="1040" dirty="0">
              <a:latin typeface="Graphik" panose="020B0503030202060203"/>
            </a:endParaRPr>
          </a:p>
          <a:p>
            <a:pPr marL="171450" lvl="1" indent="-171450"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040" dirty="0" smtClean="0">
              <a:latin typeface="Graphik" panose="020B0503030202060203"/>
            </a:endParaRPr>
          </a:p>
          <a:p>
            <a:pPr marL="0" lvl="1">
              <a:buClr>
                <a:srgbClr val="000000"/>
              </a:buClr>
              <a:defRPr/>
            </a:pPr>
            <a:endParaRPr lang="en-US" sz="1040" dirty="0">
              <a:latin typeface="Graphik" panose="020B0503030202060203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620D740-626C-4843-A037-F2A5668DADD8}"/>
              </a:ext>
            </a:extLst>
          </p:cNvPr>
          <p:cNvSpPr/>
          <p:nvPr/>
        </p:nvSpPr>
        <p:spPr>
          <a:xfrm>
            <a:off x="391168" y="1352997"/>
            <a:ext cx="883450" cy="113438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dirty="0">
                <a:solidFill>
                  <a:schemeClr val="accent1"/>
                </a:solidFill>
              </a:rPr>
              <a:t>Photo</a:t>
            </a:r>
          </a:p>
          <a:p>
            <a:pPr algn="ctr"/>
            <a:r>
              <a:rPr lang="en-AU" sz="1050" dirty="0">
                <a:solidFill>
                  <a:schemeClr val="accent1"/>
                </a:solidFill>
              </a:rPr>
              <a:t>B&amp;W</a:t>
            </a:r>
          </a:p>
        </p:txBody>
      </p:sp>
    </p:spTree>
    <p:extLst>
      <p:ext uri="{BB962C8B-B14F-4D97-AF65-F5344CB8AC3E}">
        <p14:creationId xmlns:p14="http://schemas.microsoft.com/office/powerpoint/2010/main" val="90474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SB02026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xmlns="" name="CSB00000_Cons_Engl.potx" id="{63E2577A-E3A5-4C28-8487-43E0DFFD00AF}" vid="{1A80476C-FA2C-4112-ADB8-37E03C1546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9D76075EBADC40AF48BDF0195C3A49" ma:contentTypeVersion="10" ma:contentTypeDescription="Create a new document." ma:contentTypeScope="" ma:versionID="8a6677e4638d9e3ee006397f5e0d2854">
  <xsd:schema xmlns:xsd="http://www.w3.org/2001/XMLSchema" xmlns:xs="http://www.w3.org/2001/XMLSchema" xmlns:p="http://schemas.microsoft.com/office/2006/metadata/properties" xmlns:ns3="1e6c66ec-e23f-45e4-9344-574009531ebd" targetNamespace="http://schemas.microsoft.com/office/2006/metadata/properties" ma:root="true" ma:fieldsID="16227e14f1261e02ef05ae595e8eb853" ns3:_="">
    <xsd:import namespace="1e6c66ec-e23f-45e4-9344-574009531eb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6c66ec-e23f-45e4-9344-574009531e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EF4494-CF51-4C62-BD56-FCFD770EB7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6c66ec-e23f-45e4-9344-574009531e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47C5AC8-749F-463D-8417-2FD536E47654}">
  <ds:schemaRefs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1e6c66ec-e23f-45e4-9344-574009531ebd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611D16F-C4DB-49E2-9880-9B70306BC4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13</TotalTime>
  <Words>414</Words>
  <Application>Microsoft Office PowerPoint</Application>
  <PresentationFormat>Custom</PresentationFormat>
  <Paragraphs>46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CSB02026</vt:lpstr>
      <vt:lpstr>think-cell Slide</vt:lpstr>
      <vt:lpstr>VIJAY ANAND WALTER rISK AND COMPLIANCE CONSULTANT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enture Experiences  in Countering Financial Crime</dc:title>
  <dc:creator>Lopes, Tales S.</dc:creator>
  <cp:lastModifiedBy>Jose</cp:lastModifiedBy>
  <cp:revision>790</cp:revision>
  <cp:lastPrinted>2017-10-08T21:27:33Z</cp:lastPrinted>
  <dcterms:modified xsi:type="dcterms:W3CDTF">2020-06-11T07:3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9D76075EBADC40AF48BDF0195C3A49</vt:lpwstr>
  </property>
</Properties>
</file>